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notesSlides/notesSlide9.xml" ContentType="application/vnd.openxmlformats-officedocument.presentationml.notesSlide+xml"/>
  <Override PartName="/ppt/ink/ink2.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1"/>
    <p:sldMasterId id="2147483749" r:id="rId2"/>
    <p:sldMasterId id="2147483764" r:id="rId3"/>
    <p:sldMasterId id="2147483770" r:id="rId4"/>
    <p:sldMasterId id="2147483781" r:id="rId5"/>
  </p:sldMasterIdLst>
  <p:notesMasterIdLst>
    <p:notesMasterId r:id="rId63"/>
  </p:notesMasterIdLst>
  <p:sldIdLst>
    <p:sldId id="256" r:id="rId6"/>
    <p:sldId id="257" r:id="rId7"/>
    <p:sldId id="1959" r:id="rId8"/>
    <p:sldId id="309" r:id="rId9"/>
    <p:sldId id="315" r:id="rId10"/>
    <p:sldId id="310" r:id="rId11"/>
    <p:sldId id="311" r:id="rId12"/>
    <p:sldId id="312" r:id="rId13"/>
    <p:sldId id="314" r:id="rId14"/>
    <p:sldId id="260" r:id="rId15"/>
    <p:sldId id="313" r:id="rId16"/>
    <p:sldId id="317" r:id="rId17"/>
    <p:sldId id="316" r:id="rId18"/>
    <p:sldId id="319" r:id="rId19"/>
    <p:sldId id="1933" r:id="rId20"/>
    <p:sldId id="1936" r:id="rId21"/>
    <p:sldId id="1934" r:id="rId22"/>
    <p:sldId id="1935" r:id="rId23"/>
    <p:sldId id="1931" r:id="rId24"/>
    <p:sldId id="266" r:id="rId25"/>
    <p:sldId id="1937" r:id="rId26"/>
    <p:sldId id="1955" r:id="rId27"/>
    <p:sldId id="1938" r:id="rId28"/>
    <p:sldId id="1939" r:id="rId29"/>
    <p:sldId id="1932" r:id="rId30"/>
    <p:sldId id="273" r:id="rId31"/>
    <p:sldId id="272" r:id="rId32"/>
    <p:sldId id="1940" r:id="rId33"/>
    <p:sldId id="1941" r:id="rId34"/>
    <p:sldId id="1942" r:id="rId35"/>
    <p:sldId id="1943" r:id="rId36"/>
    <p:sldId id="1944" r:id="rId37"/>
    <p:sldId id="276" r:id="rId38"/>
    <p:sldId id="1956" r:id="rId39"/>
    <p:sldId id="1957" r:id="rId40"/>
    <p:sldId id="1945" r:id="rId41"/>
    <p:sldId id="279" r:id="rId42"/>
    <p:sldId id="280" r:id="rId43"/>
    <p:sldId id="1965" r:id="rId44"/>
    <p:sldId id="1946" r:id="rId45"/>
    <p:sldId id="1947" r:id="rId46"/>
    <p:sldId id="282" r:id="rId47"/>
    <p:sldId id="1948" r:id="rId48"/>
    <p:sldId id="283" r:id="rId49"/>
    <p:sldId id="284" r:id="rId50"/>
    <p:sldId id="285" r:id="rId51"/>
    <p:sldId id="286" r:id="rId52"/>
    <p:sldId id="287" r:id="rId53"/>
    <p:sldId id="1949" r:id="rId54"/>
    <p:sldId id="1950" r:id="rId55"/>
    <p:sldId id="1951" r:id="rId56"/>
    <p:sldId id="1960" r:id="rId57"/>
    <p:sldId id="1961" r:id="rId58"/>
    <p:sldId id="1962" r:id="rId59"/>
    <p:sldId id="1964" r:id="rId60"/>
    <p:sldId id="308" r:id="rId61"/>
    <p:sldId id="1958"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2DE1922-FF8F-B846-8188-097687418842}">
          <p14:sldIdLst>
            <p14:sldId id="256"/>
            <p14:sldId id="257"/>
            <p14:sldId id="1959"/>
            <p14:sldId id="309"/>
          </p14:sldIdLst>
        </p14:section>
        <p14:section name="Design for Scalability" id="{57EC118C-1F1B-914F-8EEF-D8B51D07E19D}">
          <p14:sldIdLst>
            <p14:sldId id="315"/>
            <p14:sldId id="310"/>
            <p14:sldId id="311"/>
            <p14:sldId id="312"/>
            <p14:sldId id="314"/>
            <p14:sldId id="260"/>
            <p14:sldId id="313"/>
            <p14:sldId id="317"/>
          </p14:sldIdLst>
        </p14:section>
        <p14:section name="Design for High Availability" id="{017CAB71-B0A9-304E-BF42-A797510F2665}">
          <p14:sldIdLst>
            <p14:sldId id="316"/>
            <p14:sldId id="319"/>
            <p14:sldId id="1933"/>
            <p14:sldId id="1936"/>
            <p14:sldId id="1934"/>
            <p14:sldId id="1935"/>
          </p14:sldIdLst>
        </p14:section>
        <p14:section name="Design for Resilience" id="{5100E1E6-6E76-534F-AA79-E0FD6F52F0AD}">
          <p14:sldIdLst>
            <p14:sldId id="1931"/>
            <p14:sldId id="266"/>
            <p14:sldId id="1937"/>
            <p14:sldId id="1955"/>
            <p14:sldId id="1938"/>
            <p14:sldId id="1939"/>
          </p14:sldIdLst>
        </p14:section>
        <p14:section name="Design for Data" id="{C22CE3FA-7990-FA44-99A7-0DAC6FDD7DA4}">
          <p14:sldIdLst>
            <p14:sldId id="1932"/>
            <p14:sldId id="273"/>
            <p14:sldId id="272"/>
            <p14:sldId id="1940"/>
            <p14:sldId id="1941"/>
            <p14:sldId id="1942"/>
            <p14:sldId id="1943"/>
          </p14:sldIdLst>
        </p14:section>
        <p14:section name="Design for Messaging" id="{9C4A4683-1613-524D-9A77-A4EAED80BD4A}">
          <p14:sldIdLst>
            <p14:sldId id="1944"/>
            <p14:sldId id="276"/>
            <p14:sldId id="1956"/>
            <p14:sldId id="1957"/>
          </p14:sldIdLst>
        </p14:section>
        <p14:section name="Design for Management and Monitoring" id="{E3367BE0-46FB-814F-A20D-DD38CA2C3903}">
          <p14:sldIdLst>
            <p14:sldId id="1945"/>
            <p14:sldId id="279"/>
            <p14:sldId id="280"/>
            <p14:sldId id="1965"/>
            <p14:sldId id="1946"/>
          </p14:sldIdLst>
        </p14:section>
        <p14:section name="Design for Security" id="{143C71F9-04F0-754D-B8A4-F45610FB2D1F}">
          <p14:sldIdLst>
            <p14:sldId id="1947"/>
            <p14:sldId id="282"/>
            <p14:sldId id="1948"/>
            <p14:sldId id="283"/>
            <p14:sldId id="284"/>
            <p14:sldId id="285"/>
            <p14:sldId id="286"/>
            <p14:sldId id="287"/>
            <p14:sldId id="1949"/>
            <p14:sldId id="1950"/>
            <p14:sldId id="1951"/>
          </p14:sldIdLst>
        </p14:section>
        <p14:section name="Case Studies" id="{D412A955-163A-CC47-8793-650A5E31AECA}">
          <p14:sldIdLst>
            <p14:sldId id="1960"/>
            <p14:sldId id="1961"/>
            <p14:sldId id="1962"/>
            <p14:sldId id="1964"/>
          </p14:sldIdLst>
        </p14:section>
        <p14:section name="Outro" id="{2256B290-09C0-4F46-AE3E-99E8A026E1B1}">
          <p14:sldIdLst>
            <p14:sldId id="308"/>
            <p14:sldId id="19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26" autoAdjust="0"/>
    <p:restoredTop sz="85229" autoAdjust="0"/>
  </p:normalViewPr>
  <p:slideViewPr>
    <p:cSldViewPr snapToGrid="0">
      <p:cViewPr varScale="1">
        <p:scale>
          <a:sx n="192" d="100"/>
          <a:sy n="192" d="100"/>
        </p:scale>
        <p:origin x="150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iu Niculita" userId="c225ca43ec9c2f2d" providerId="LiveId" clId="{BDFCF9BC-5ADD-3846-9BF7-E2F3E896D277}"/>
    <pc:docChg chg="delSld modSld sldOrd modSection">
      <pc:chgData name="Silviu Niculita" userId="c225ca43ec9c2f2d" providerId="LiveId" clId="{BDFCF9BC-5ADD-3846-9BF7-E2F3E896D277}" dt="2021-06-10T19:40:33.309" v="37" actId="2696"/>
      <pc:docMkLst>
        <pc:docMk/>
      </pc:docMkLst>
      <pc:sldChg chg="ord">
        <pc:chgData name="Silviu Niculita" userId="c225ca43ec9c2f2d" providerId="LiveId" clId="{BDFCF9BC-5ADD-3846-9BF7-E2F3E896D277}" dt="2021-06-10T16:55:01.533" v="30" actId="20578"/>
        <pc:sldMkLst>
          <pc:docMk/>
          <pc:sldMk cId="3775532558" sldId="257"/>
        </pc:sldMkLst>
      </pc:sldChg>
      <pc:sldChg chg="addSp">
        <pc:chgData name="Silviu Niculita" userId="c225ca43ec9c2f2d" providerId="LiveId" clId="{BDFCF9BC-5ADD-3846-9BF7-E2F3E896D277}" dt="2021-06-10T17:22:24.576" v="35"/>
        <pc:sldMkLst>
          <pc:docMk/>
          <pc:sldMk cId="3277229386" sldId="260"/>
        </pc:sldMkLst>
        <pc:inkChg chg="add">
          <ac:chgData name="Silviu Niculita" userId="c225ca43ec9c2f2d" providerId="LiveId" clId="{BDFCF9BC-5ADD-3846-9BF7-E2F3E896D277}" dt="2021-06-10T17:22:24.576" v="35"/>
          <ac:inkMkLst>
            <pc:docMk/>
            <pc:sldMk cId="3277229386" sldId="260"/>
            <ac:inkMk id="3" creationId="{44EB4CF5-263D-CC44-80A8-412A3FC9A72C}"/>
          </ac:inkMkLst>
        </pc:inkChg>
      </pc:sldChg>
      <pc:sldChg chg="modSp mod">
        <pc:chgData name="Silviu Niculita" userId="c225ca43ec9c2f2d" providerId="LiveId" clId="{BDFCF9BC-5ADD-3846-9BF7-E2F3E896D277}" dt="2021-06-10T16:59:20.605" v="33" actId="403"/>
        <pc:sldMkLst>
          <pc:docMk/>
          <pc:sldMk cId="930944531" sldId="284"/>
        </pc:sldMkLst>
        <pc:spChg chg="mod">
          <ac:chgData name="Silviu Niculita" userId="c225ca43ec9c2f2d" providerId="LiveId" clId="{BDFCF9BC-5ADD-3846-9BF7-E2F3E896D277}" dt="2021-06-10T16:59:20.605" v="33" actId="403"/>
          <ac:spMkLst>
            <pc:docMk/>
            <pc:sldMk cId="930944531" sldId="284"/>
            <ac:spMk id="3" creationId="{605676BE-09B6-4581-97C4-4A40E9FB77E6}"/>
          </ac:spMkLst>
        </pc:spChg>
      </pc:sldChg>
      <pc:sldChg chg="modSp mod">
        <pc:chgData name="Silviu Niculita" userId="c225ca43ec9c2f2d" providerId="LiveId" clId="{BDFCF9BC-5ADD-3846-9BF7-E2F3E896D277}" dt="2021-06-10T16:04:07.609" v="28" actId="20577"/>
        <pc:sldMkLst>
          <pc:docMk/>
          <pc:sldMk cId="3689473222" sldId="309"/>
        </pc:sldMkLst>
        <pc:spChg chg="mod">
          <ac:chgData name="Silviu Niculita" userId="c225ca43ec9c2f2d" providerId="LiveId" clId="{BDFCF9BC-5ADD-3846-9BF7-E2F3E896D277}" dt="2021-06-10T16:04:07.609" v="28" actId="20577"/>
          <ac:spMkLst>
            <pc:docMk/>
            <pc:sldMk cId="3689473222" sldId="309"/>
            <ac:spMk id="2" creationId="{676A56CE-8532-4FFA-97F3-2431889D53A8}"/>
          </ac:spMkLst>
        </pc:spChg>
      </pc:sldChg>
      <pc:sldChg chg="modNotesTx">
        <pc:chgData name="Silviu Niculita" userId="c225ca43ec9c2f2d" providerId="LiveId" clId="{BDFCF9BC-5ADD-3846-9BF7-E2F3E896D277}" dt="2021-06-10T16:04:52.325" v="29" actId="6549"/>
        <pc:sldMkLst>
          <pc:docMk/>
          <pc:sldMk cId="739542184" sldId="310"/>
        </pc:sldMkLst>
      </pc:sldChg>
      <pc:sldChg chg="addSp">
        <pc:chgData name="Silviu Niculita" userId="c225ca43ec9c2f2d" providerId="LiveId" clId="{BDFCF9BC-5ADD-3846-9BF7-E2F3E896D277}" dt="2021-06-10T17:22:24.576" v="35"/>
        <pc:sldMkLst>
          <pc:docMk/>
          <pc:sldMk cId="2663419182" sldId="313"/>
        </pc:sldMkLst>
        <pc:inkChg chg="add">
          <ac:chgData name="Silviu Niculita" userId="c225ca43ec9c2f2d" providerId="LiveId" clId="{BDFCF9BC-5ADD-3846-9BF7-E2F3E896D277}" dt="2021-06-10T17:22:24.576" v="35"/>
          <ac:inkMkLst>
            <pc:docMk/>
            <pc:sldMk cId="2663419182" sldId="313"/>
            <ac:inkMk id="4" creationId="{7B5379AC-D6AF-B94F-97E5-0A8AF43CC95A}"/>
          </ac:inkMkLst>
        </pc:inkChg>
      </pc:sldChg>
      <pc:sldChg chg="modSp mod">
        <pc:chgData name="Silviu Niculita" userId="c225ca43ec9c2f2d" providerId="LiveId" clId="{BDFCF9BC-5ADD-3846-9BF7-E2F3E896D277}" dt="2021-06-10T16:57:55.116" v="32" actId="1076"/>
        <pc:sldMkLst>
          <pc:docMk/>
          <pc:sldMk cId="304136768" sldId="1942"/>
        </pc:sldMkLst>
        <pc:picChg chg="mod">
          <ac:chgData name="Silviu Niculita" userId="c225ca43ec9c2f2d" providerId="LiveId" clId="{BDFCF9BC-5ADD-3846-9BF7-E2F3E896D277}" dt="2021-06-10T16:57:55.116" v="32" actId="1076"/>
          <ac:picMkLst>
            <pc:docMk/>
            <pc:sldMk cId="304136768" sldId="1942"/>
            <ac:picMk id="7" creationId="{0EC1E248-C9E4-42D4-BE9E-74A4F0C6E390}"/>
          </ac:picMkLst>
        </pc:picChg>
      </pc:sldChg>
      <pc:sldChg chg="del mod modShow">
        <pc:chgData name="Silviu Niculita" userId="c225ca43ec9c2f2d" providerId="LiveId" clId="{BDFCF9BC-5ADD-3846-9BF7-E2F3E896D277}" dt="2021-06-10T19:40:27.404" v="36" actId="2696"/>
        <pc:sldMkLst>
          <pc:docMk/>
          <pc:sldMk cId="4282489654" sldId="1952"/>
        </pc:sldMkLst>
      </pc:sldChg>
      <pc:sldChg chg="modSp mod">
        <pc:chgData name="Silviu Niculita" userId="c225ca43ec9c2f2d" providerId="LiveId" clId="{BDFCF9BC-5ADD-3846-9BF7-E2F3E896D277}" dt="2021-06-10T15:37:27.022" v="1" actId="403"/>
        <pc:sldMkLst>
          <pc:docMk/>
          <pc:sldMk cId="2849714597" sldId="1957"/>
        </pc:sldMkLst>
        <pc:graphicFrameChg chg="modGraphic">
          <ac:chgData name="Silviu Niculita" userId="c225ca43ec9c2f2d" providerId="LiveId" clId="{BDFCF9BC-5ADD-3846-9BF7-E2F3E896D277}" dt="2021-06-10T15:37:27.022" v="1" actId="403"/>
          <ac:graphicFrameMkLst>
            <pc:docMk/>
            <pc:sldMk cId="2849714597" sldId="1957"/>
            <ac:graphicFrameMk id="9" creationId="{6F2193FA-D8F8-4ED4-BAA2-6C14D556F6D3}"/>
          </ac:graphicFrameMkLst>
        </pc:graphicFrameChg>
      </pc:sldChg>
      <pc:sldChg chg="del">
        <pc:chgData name="Silviu Niculita" userId="c225ca43ec9c2f2d" providerId="LiveId" clId="{BDFCF9BC-5ADD-3846-9BF7-E2F3E896D277}" dt="2021-06-10T19:40:33.309" v="37" actId="2696"/>
        <pc:sldMkLst>
          <pc:docMk/>
          <pc:sldMk cId="2750324340" sldId="1963"/>
        </pc:sldMkLst>
      </pc:sldChg>
    </pc:docChg>
  </pc:docChgLst>
  <pc:docChgLst>
    <pc:chgData name="Silviu Niculita" userId="c225ca43ec9c2f2d" providerId="LiveId" clId="{BBCA61B4-ECBB-A945-B889-10B24DD72797}"/>
    <pc:docChg chg="undo custSel addSld delSld modSld sldOrd modMainMaster addSection modSection">
      <pc:chgData name="Silviu Niculita" userId="c225ca43ec9c2f2d" providerId="LiveId" clId="{BBCA61B4-ECBB-A945-B889-10B24DD72797}" dt="2021-06-10T09:14:04.760" v="852" actId="1076"/>
      <pc:docMkLst>
        <pc:docMk/>
      </pc:docMkLst>
      <pc:sldChg chg="delSp modSp mod modClrScheme chgLayout">
        <pc:chgData name="Silviu Niculita" userId="c225ca43ec9c2f2d" providerId="LiveId" clId="{BBCA61B4-ECBB-A945-B889-10B24DD72797}" dt="2021-06-10T07:30:37.324" v="334" actId="1076"/>
        <pc:sldMkLst>
          <pc:docMk/>
          <pc:sldMk cId="494491768" sldId="256"/>
        </pc:sldMkLst>
        <pc:spChg chg="mod ord">
          <ac:chgData name="Silviu Niculita" userId="c225ca43ec9c2f2d" providerId="LiveId" clId="{BBCA61B4-ECBB-A945-B889-10B24DD72797}" dt="2021-06-10T07:30:37.324" v="334" actId="1076"/>
          <ac:spMkLst>
            <pc:docMk/>
            <pc:sldMk cId="494491768" sldId="256"/>
            <ac:spMk id="2" creationId="{390908EC-571D-413C-93D2-867C7B5B3329}"/>
          </ac:spMkLst>
        </pc:spChg>
        <pc:spChg chg="mod ord">
          <ac:chgData name="Silviu Niculita" userId="c225ca43ec9c2f2d" providerId="LiveId" clId="{BBCA61B4-ECBB-A945-B889-10B24DD72797}" dt="2021-06-10T07:30:33.645" v="333" actId="14100"/>
          <ac:spMkLst>
            <pc:docMk/>
            <pc:sldMk cId="494491768" sldId="256"/>
            <ac:spMk id="3" creationId="{6B971BC8-A504-4594-93B9-1CCE0062B00E}"/>
          </ac:spMkLst>
        </pc:spChg>
        <pc:spChg chg="del">
          <ac:chgData name="Silviu Niculita" userId="c225ca43ec9c2f2d" providerId="LiveId" clId="{BBCA61B4-ECBB-A945-B889-10B24DD72797}" dt="2021-06-10T06:10:05.724" v="7" actId="478"/>
          <ac:spMkLst>
            <pc:docMk/>
            <pc:sldMk cId="494491768" sldId="256"/>
            <ac:spMk id="8" creationId="{D6111F41-7425-464A-9521-669752450446}"/>
          </ac:spMkLst>
        </pc:spChg>
        <pc:spChg chg="del">
          <ac:chgData name="Silviu Niculita" userId="c225ca43ec9c2f2d" providerId="LiveId" clId="{BBCA61B4-ECBB-A945-B889-10B24DD72797}" dt="2021-06-10T06:10:03.780" v="6" actId="478"/>
          <ac:spMkLst>
            <pc:docMk/>
            <pc:sldMk cId="494491768" sldId="256"/>
            <ac:spMk id="10" creationId="{012C85A5-608A-48CA-88BF-21EE6FF0F0DB}"/>
          </ac:spMkLst>
        </pc:spChg>
      </pc:sldChg>
      <pc:sldChg chg="addSp delSp modSp mod modClrScheme chgLayout">
        <pc:chgData name="Silviu Niculita" userId="c225ca43ec9c2f2d" providerId="LiveId" clId="{BBCA61B4-ECBB-A945-B889-10B24DD72797}" dt="2021-06-10T09:12:28.962" v="849" actId="14100"/>
        <pc:sldMkLst>
          <pc:docMk/>
          <pc:sldMk cId="3775532558" sldId="257"/>
        </pc:sldMkLst>
        <pc:spChg chg="mod ord">
          <ac:chgData name="Silviu Niculita" userId="c225ca43ec9c2f2d" providerId="LiveId" clId="{BBCA61B4-ECBB-A945-B889-10B24DD72797}" dt="2021-06-10T06:09:36.807" v="4" actId="700"/>
          <ac:spMkLst>
            <pc:docMk/>
            <pc:sldMk cId="3775532558" sldId="257"/>
            <ac:spMk id="2" creationId="{6F91184C-9249-450B-B4A9-21EAA77FA0A4}"/>
          </ac:spMkLst>
        </pc:spChg>
        <pc:spChg chg="add del mod">
          <ac:chgData name="Silviu Niculita" userId="c225ca43ec9c2f2d" providerId="LiveId" clId="{BBCA61B4-ECBB-A945-B889-10B24DD72797}" dt="2021-06-10T06:09:08.544" v="2"/>
          <ac:spMkLst>
            <pc:docMk/>
            <pc:sldMk cId="3775532558" sldId="257"/>
            <ac:spMk id="3" creationId="{B739D98C-57A7-C14A-A208-9B6120522C73}"/>
          </ac:spMkLst>
        </pc:spChg>
        <pc:spChg chg="del mod ord">
          <ac:chgData name="Silviu Niculita" userId="c225ca43ec9c2f2d" providerId="LiveId" clId="{BBCA61B4-ECBB-A945-B889-10B24DD72797}" dt="2021-06-10T06:10:09.214" v="8" actId="478"/>
          <ac:spMkLst>
            <pc:docMk/>
            <pc:sldMk cId="3775532558" sldId="257"/>
            <ac:spMk id="4" creationId="{697C8E00-F393-409C-99A8-8A1997E98865}"/>
          </ac:spMkLst>
        </pc:spChg>
        <pc:spChg chg="del mod ord">
          <ac:chgData name="Silviu Niculita" userId="c225ca43ec9c2f2d" providerId="LiveId" clId="{BBCA61B4-ECBB-A945-B889-10B24DD72797}" dt="2021-06-10T06:10:16.653" v="10" actId="478"/>
          <ac:spMkLst>
            <pc:docMk/>
            <pc:sldMk cId="3775532558" sldId="257"/>
            <ac:spMk id="5" creationId="{EB520A80-E9F9-4D36-8782-E985FF63EF99}"/>
          </ac:spMkLst>
        </pc:spChg>
        <pc:spChg chg="del mod ord">
          <ac:chgData name="Silviu Niculita" userId="c225ca43ec9c2f2d" providerId="LiveId" clId="{BBCA61B4-ECBB-A945-B889-10B24DD72797}" dt="2021-06-10T06:09:39.713" v="5" actId="478"/>
          <ac:spMkLst>
            <pc:docMk/>
            <pc:sldMk cId="3775532558" sldId="257"/>
            <ac:spMk id="6" creationId="{00752D30-3B7B-428D-82D4-12A950CA87C3}"/>
          </ac:spMkLst>
        </pc:spChg>
        <pc:graphicFrameChg chg="mod ord">
          <ac:chgData name="Silviu Niculita" userId="c225ca43ec9c2f2d" providerId="LiveId" clId="{BBCA61B4-ECBB-A945-B889-10B24DD72797}" dt="2021-06-10T09:12:28.962" v="849" actId="14100"/>
          <ac:graphicFrameMkLst>
            <pc:docMk/>
            <pc:sldMk cId="3775532558" sldId="257"/>
            <ac:graphicFrameMk id="7" creationId="{2A7AE1AA-7E63-4ABD-AEA7-D3AE75695CFF}"/>
          </ac:graphicFrameMkLst>
        </pc:graphicFrameChg>
      </pc:sldChg>
      <pc:sldChg chg="delSp mod">
        <pc:chgData name="Silviu Niculita" userId="c225ca43ec9c2f2d" providerId="LiveId" clId="{BBCA61B4-ECBB-A945-B889-10B24DD72797}" dt="2021-06-10T06:12:19.385" v="38" actId="478"/>
        <pc:sldMkLst>
          <pc:docMk/>
          <pc:sldMk cId="3277229386" sldId="260"/>
        </pc:sldMkLst>
        <pc:spChg chg="del">
          <ac:chgData name="Silviu Niculita" userId="c225ca43ec9c2f2d" providerId="LiveId" clId="{BBCA61B4-ECBB-A945-B889-10B24DD72797}" dt="2021-06-10T06:12:19.385" v="38" actId="478"/>
          <ac:spMkLst>
            <pc:docMk/>
            <pc:sldMk cId="3277229386" sldId="260"/>
            <ac:spMk id="4" creationId="{108B89D2-988D-4188-894D-9DD9B3D7BA18}"/>
          </ac:spMkLst>
        </pc:spChg>
        <pc:spChg chg="del">
          <ac:chgData name="Silviu Niculita" userId="c225ca43ec9c2f2d" providerId="LiveId" clId="{BBCA61B4-ECBB-A945-B889-10B24DD72797}" dt="2021-06-10T06:12:18.005" v="37" actId="478"/>
          <ac:spMkLst>
            <pc:docMk/>
            <pc:sldMk cId="3277229386" sldId="260"/>
            <ac:spMk id="1028" creationId="{AACFED65-C5C1-4AC0-9B3F-8F8CF4010540}"/>
          </ac:spMkLst>
        </pc:spChg>
      </pc:sldChg>
      <pc:sldChg chg="delSp mod">
        <pc:chgData name="Silviu Niculita" userId="c225ca43ec9c2f2d" providerId="LiveId" clId="{BBCA61B4-ECBB-A945-B889-10B24DD72797}" dt="2021-06-10T06:41:54.253" v="252" actId="478"/>
        <pc:sldMkLst>
          <pc:docMk/>
          <pc:sldMk cId="2398241609" sldId="266"/>
        </pc:sldMkLst>
        <pc:spChg chg="del">
          <ac:chgData name="Silviu Niculita" userId="c225ca43ec9c2f2d" providerId="LiveId" clId="{BBCA61B4-ECBB-A945-B889-10B24DD72797}" dt="2021-06-10T06:41:54.253" v="252" actId="478"/>
          <ac:spMkLst>
            <pc:docMk/>
            <pc:sldMk cId="2398241609" sldId="266"/>
            <ac:spMk id="4" creationId="{1B90271F-E1C0-46B8-9633-E7D36B57B1B5}"/>
          </ac:spMkLst>
        </pc:spChg>
        <pc:spChg chg="del">
          <ac:chgData name="Silviu Niculita" userId="c225ca43ec9c2f2d" providerId="LiveId" clId="{BBCA61B4-ECBB-A945-B889-10B24DD72797}" dt="2021-06-10T06:41:54.253" v="252" actId="478"/>
          <ac:spMkLst>
            <pc:docMk/>
            <pc:sldMk cId="2398241609" sldId="266"/>
            <ac:spMk id="12" creationId="{4C6C1782-05C6-401D-B8D3-F61FA517CD0F}"/>
          </ac:spMkLst>
        </pc:spChg>
      </pc:sldChg>
      <pc:sldChg chg="delSp mod">
        <pc:chgData name="Silviu Niculita" userId="c225ca43ec9c2f2d" providerId="LiveId" clId="{BBCA61B4-ECBB-A945-B889-10B24DD72797}" dt="2021-06-10T06:40:56.755" v="246" actId="478"/>
        <pc:sldMkLst>
          <pc:docMk/>
          <pc:sldMk cId="1143027790" sldId="268"/>
        </pc:sldMkLst>
        <pc:spChg chg="del">
          <ac:chgData name="Silviu Niculita" userId="c225ca43ec9c2f2d" providerId="LiveId" clId="{BBCA61B4-ECBB-A945-B889-10B24DD72797}" dt="2021-06-10T06:40:56.755" v="246" actId="478"/>
          <ac:spMkLst>
            <pc:docMk/>
            <pc:sldMk cId="1143027790" sldId="268"/>
            <ac:spMk id="4" creationId="{9D728F45-B38E-4A70-9535-64BB0167EF74}"/>
          </ac:spMkLst>
        </pc:spChg>
        <pc:spChg chg="del">
          <ac:chgData name="Silviu Niculita" userId="c225ca43ec9c2f2d" providerId="LiveId" clId="{BBCA61B4-ECBB-A945-B889-10B24DD72797}" dt="2021-06-10T06:40:56.755" v="246" actId="478"/>
          <ac:spMkLst>
            <pc:docMk/>
            <pc:sldMk cId="1143027790" sldId="268"/>
            <ac:spMk id="9" creationId="{5FCE0B5D-F371-4E1B-85A3-092317DF0EC8}"/>
          </ac:spMkLst>
        </pc:spChg>
      </pc:sldChg>
      <pc:sldChg chg="delSp mod">
        <pc:chgData name="Silviu Niculita" userId="c225ca43ec9c2f2d" providerId="LiveId" clId="{BBCA61B4-ECBB-A945-B889-10B24DD72797}" dt="2021-06-10T06:38:59.842" v="220" actId="478"/>
        <pc:sldMkLst>
          <pc:docMk/>
          <pc:sldMk cId="2491171254" sldId="272"/>
        </pc:sldMkLst>
        <pc:spChg chg="del">
          <ac:chgData name="Silviu Niculita" userId="c225ca43ec9c2f2d" providerId="LiveId" clId="{BBCA61B4-ECBB-A945-B889-10B24DD72797}" dt="2021-06-10T06:38:59.842" v="220" actId="478"/>
          <ac:spMkLst>
            <pc:docMk/>
            <pc:sldMk cId="2491171254" sldId="272"/>
            <ac:spMk id="4" creationId="{DC825B10-6488-4D34-A837-976EB1BED7E7}"/>
          </ac:spMkLst>
        </pc:spChg>
        <pc:spChg chg="del">
          <ac:chgData name="Silviu Niculita" userId="c225ca43ec9c2f2d" providerId="LiveId" clId="{BBCA61B4-ECBB-A945-B889-10B24DD72797}" dt="2021-06-10T06:38:59.842" v="220" actId="478"/>
          <ac:spMkLst>
            <pc:docMk/>
            <pc:sldMk cId="2491171254" sldId="272"/>
            <ac:spMk id="25" creationId="{720AFCA4-CA41-49FD-BD77-DF9000D9A801}"/>
          </ac:spMkLst>
        </pc:spChg>
      </pc:sldChg>
      <pc:sldChg chg="delSp mod">
        <pc:chgData name="Silviu Niculita" userId="c225ca43ec9c2f2d" providerId="LiveId" clId="{BBCA61B4-ECBB-A945-B889-10B24DD72797}" dt="2021-06-10T06:39:11.122" v="221" actId="478"/>
        <pc:sldMkLst>
          <pc:docMk/>
          <pc:sldMk cId="837023559" sldId="273"/>
        </pc:sldMkLst>
        <pc:spChg chg="del">
          <ac:chgData name="Silviu Niculita" userId="c225ca43ec9c2f2d" providerId="LiveId" clId="{BBCA61B4-ECBB-A945-B889-10B24DD72797}" dt="2021-06-10T06:39:11.122" v="221" actId="478"/>
          <ac:spMkLst>
            <pc:docMk/>
            <pc:sldMk cId="837023559" sldId="273"/>
            <ac:spMk id="4" creationId="{DC825B10-6488-4D34-A837-976EB1BED7E7}"/>
          </ac:spMkLst>
        </pc:spChg>
        <pc:spChg chg="del">
          <ac:chgData name="Silviu Niculita" userId="c225ca43ec9c2f2d" providerId="LiveId" clId="{BBCA61B4-ECBB-A945-B889-10B24DD72797}" dt="2021-06-10T06:39:11.122" v="221" actId="478"/>
          <ac:spMkLst>
            <pc:docMk/>
            <pc:sldMk cId="837023559" sldId="273"/>
            <ac:spMk id="13" creationId="{50EF03C9-545C-4898-A805-0F7F129B549A}"/>
          </ac:spMkLst>
        </pc:spChg>
      </pc:sldChg>
      <pc:sldChg chg="delSp mod">
        <pc:chgData name="Silviu Niculita" userId="c225ca43ec9c2f2d" providerId="LiveId" clId="{BBCA61B4-ECBB-A945-B889-10B24DD72797}" dt="2021-06-10T06:38:11.091" v="208" actId="478"/>
        <pc:sldMkLst>
          <pc:docMk/>
          <pc:sldMk cId="3441756882" sldId="276"/>
        </pc:sldMkLst>
        <pc:spChg chg="del">
          <ac:chgData name="Silviu Niculita" userId="c225ca43ec9c2f2d" providerId="LiveId" clId="{BBCA61B4-ECBB-A945-B889-10B24DD72797}" dt="2021-06-10T06:38:11.091" v="208" actId="478"/>
          <ac:spMkLst>
            <pc:docMk/>
            <pc:sldMk cId="3441756882" sldId="276"/>
            <ac:spMk id="4" creationId="{5779E623-0E64-4E55-82F8-674107E06349}"/>
          </ac:spMkLst>
        </pc:spChg>
        <pc:spChg chg="del">
          <ac:chgData name="Silviu Niculita" userId="c225ca43ec9c2f2d" providerId="LiveId" clId="{BBCA61B4-ECBB-A945-B889-10B24DD72797}" dt="2021-06-10T06:38:11.091" v="208" actId="478"/>
          <ac:spMkLst>
            <pc:docMk/>
            <pc:sldMk cId="3441756882" sldId="276"/>
            <ac:spMk id="12" creationId="{2EDB3AA0-79C1-47F3-A2DD-7F10DC2C79E7}"/>
          </ac:spMkLst>
        </pc:spChg>
      </pc:sldChg>
      <pc:sldChg chg="delSp modSp mod">
        <pc:chgData name="Silviu Niculita" userId="c225ca43ec9c2f2d" providerId="LiveId" clId="{BBCA61B4-ECBB-A945-B889-10B24DD72797}" dt="2021-06-10T06:36:08.550" v="195" actId="403"/>
        <pc:sldMkLst>
          <pc:docMk/>
          <pc:sldMk cId="3104214956" sldId="279"/>
        </pc:sldMkLst>
        <pc:spChg chg="mod">
          <ac:chgData name="Silviu Niculita" userId="c225ca43ec9c2f2d" providerId="LiveId" clId="{BBCA61B4-ECBB-A945-B889-10B24DD72797}" dt="2021-06-10T06:36:08.550" v="195" actId="403"/>
          <ac:spMkLst>
            <pc:docMk/>
            <pc:sldMk cId="3104214956" sldId="279"/>
            <ac:spMk id="3" creationId="{36F5B732-AB5F-4EEA-B148-F0B2E42B4C8B}"/>
          </ac:spMkLst>
        </pc:spChg>
        <pc:spChg chg="del">
          <ac:chgData name="Silviu Niculita" userId="c225ca43ec9c2f2d" providerId="LiveId" clId="{BBCA61B4-ECBB-A945-B889-10B24DD72797}" dt="2021-06-10T06:35:22.611" v="189" actId="478"/>
          <ac:spMkLst>
            <pc:docMk/>
            <pc:sldMk cId="3104214956" sldId="279"/>
            <ac:spMk id="4" creationId="{9482B896-FACD-4E92-A08E-F252EDC11D22}"/>
          </ac:spMkLst>
        </pc:spChg>
        <pc:spChg chg="del">
          <ac:chgData name="Silviu Niculita" userId="c225ca43ec9c2f2d" providerId="LiveId" clId="{BBCA61B4-ECBB-A945-B889-10B24DD72797}" dt="2021-06-10T06:35:22.611" v="189" actId="478"/>
          <ac:spMkLst>
            <pc:docMk/>
            <pc:sldMk cId="3104214956" sldId="279"/>
            <ac:spMk id="5" creationId="{DE5742E4-C152-4630-88E6-8D34B0730670}"/>
          </ac:spMkLst>
        </pc:spChg>
        <pc:spChg chg="del">
          <ac:chgData name="Silviu Niculita" userId="c225ca43ec9c2f2d" providerId="LiveId" clId="{BBCA61B4-ECBB-A945-B889-10B24DD72797}" dt="2021-06-10T06:35:22.611" v="189" actId="478"/>
          <ac:spMkLst>
            <pc:docMk/>
            <pc:sldMk cId="3104214956" sldId="279"/>
            <ac:spMk id="6" creationId="{A6DCB513-B856-40A9-BE78-A8B28AC17A2A}"/>
          </ac:spMkLst>
        </pc:spChg>
      </pc:sldChg>
      <pc:sldChg chg="delSp modSp mod">
        <pc:chgData name="Silviu Niculita" userId="c225ca43ec9c2f2d" providerId="LiveId" clId="{BBCA61B4-ECBB-A945-B889-10B24DD72797}" dt="2021-06-10T06:35:14.146" v="188" actId="20577"/>
        <pc:sldMkLst>
          <pc:docMk/>
          <pc:sldMk cId="2373377191" sldId="280"/>
        </pc:sldMkLst>
        <pc:spChg chg="mod">
          <ac:chgData name="Silviu Niculita" userId="c225ca43ec9c2f2d" providerId="LiveId" clId="{BBCA61B4-ECBB-A945-B889-10B24DD72797}" dt="2021-06-10T06:35:14.146" v="188" actId="20577"/>
          <ac:spMkLst>
            <pc:docMk/>
            <pc:sldMk cId="2373377191" sldId="280"/>
            <ac:spMk id="3" creationId="{36F5B732-AB5F-4EEA-B148-F0B2E42B4C8B}"/>
          </ac:spMkLst>
        </pc:spChg>
        <pc:spChg chg="del">
          <ac:chgData name="Silviu Niculita" userId="c225ca43ec9c2f2d" providerId="LiveId" clId="{BBCA61B4-ECBB-A945-B889-10B24DD72797}" dt="2021-06-10T06:34:57.848" v="183" actId="478"/>
          <ac:spMkLst>
            <pc:docMk/>
            <pc:sldMk cId="2373377191" sldId="280"/>
            <ac:spMk id="4" creationId="{9482B896-FACD-4E92-A08E-F252EDC11D22}"/>
          </ac:spMkLst>
        </pc:spChg>
        <pc:spChg chg="del">
          <ac:chgData name="Silviu Niculita" userId="c225ca43ec9c2f2d" providerId="LiveId" clId="{BBCA61B4-ECBB-A945-B889-10B24DD72797}" dt="2021-06-10T06:34:57.848" v="183" actId="478"/>
          <ac:spMkLst>
            <pc:docMk/>
            <pc:sldMk cId="2373377191" sldId="280"/>
            <ac:spMk id="5" creationId="{DE5742E4-C152-4630-88E6-8D34B0730670}"/>
          </ac:spMkLst>
        </pc:spChg>
        <pc:spChg chg="del">
          <ac:chgData name="Silviu Niculita" userId="c225ca43ec9c2f2d" providerId="LiveId" clId="{BBCA61B4-ECBB-A945-B889-10B24DD72797}" dt="2021-06-10T06:34:57.848" v="183" actId="478"/>
          <ac:spMkLst>
            <pc:docMk/>
            <pc:sldMk cId="2373377191" sldId="280"/>
            <ac:spMk id="6" creationId="{A6DCB513-B856-40A9-BE78-A8B28AC17A2A}"/>
          </ac:spMkLst>
        </pc:spChg>
      </pc:sldChg>
      <pc:sldChg chg="delSp mod">
        <pc:chgData name="Silviu Niculita" userId="c225ca43ec9c2f2d" providerId="LiveId" clId="{BBCA61B4-ECBB-A945-B889-10B24DD72797}" dt="2021-06-10T06:34:54.353" v="182" actId="478"/>
        <pc:sldMkLst>
          <pc:docMk/>
          <pc:sldMk cId="1009135703" sldId="281"/>
        </pc:sldMkLst>
        <pc:spChg chg="del">
          <ac:chgData name="Silviu Niculita" userId="c225ca43ec9c2f2d" providerId="LiveId" clId="{BBCA61B4-ECBB-A945-B889-10B24DD72797}" dt="2021-06-10T06:34:54.353" v="182" actId="478"/>
          <ac:spMkLst>
            <pc:docMk/>
            <pc:sldMk cId="1009135703" sldId="281"/>
            <ac:spMk id="4" creationId="{9482B896-FACD-4E92-A08E-F252EDC11D22}"/>
          </ac:spMkLst>
        </pc:spChg>
        <pc:spChg chg="del">
          <ac:chgData name="Silviu Niculita" userId="c225ca43ec9c2f2d" providerId="LiveId" clId="{BBCA61B4-ECBB-A945-B889-10B24DD72797}" dt="2021-06-10T06:34:54.353" v="182" actId="478"/>
          <ac:spMkLst>
            <pc:docMk/>
            <pc:sldMk cId="1009135703" sldId="281"/>
            <ac:spMk id="5" creationId="{DE5742E4-C152-4630-88E6-8D34B0730670}"/>
          </ac:spMkLst>
        </pc:spChg>
        <pc:spChg chg="del">
          <ac:chgData name="Silviu Niculita" userId="c225ca43ec9c2f2d" providerId="LiveId" clId="{BBCA61B4-ECBB-A945-B889-10B24DD72797}" dt="2021-06-10T06:34:54.353" v="182" actId="478"/>
          <ac:spMkLst>
            <pc:docMk/>
            <pc:sldMk cId="1009135703" sldId="281"/>
            <ac:spMk id="6" creationId="{A6DCB513-B856-40A9-BE78-A8B28AC17A2A}"/>
          </ac:spMkLst>
        </pc:spChg>
      </pc:sldChg>
      <pc:sldChg chg="delSp mod">
        <pc:chgData name="Silviu Niculita" userId="c225ca43ec9c2f2d" providerId="LiveId" clId="{BBCA61B4-ECBB-A945-B889-10B24DD72797}" dt="2021-06-10T06:34:24.517" v="176" actId="478"/>
        <pc:sldMkLst>
          <pc:docMk/>
          <pc:sldMk cId="976277967" sldId="282"/>
        </pc:sldMkLst>
        <pc:spChg chg="del">
          <ac:chgData name="Silviu Niculita" userId="c225ca43ec9c2f2d" providerId="LiveId" clId="{BBCA61B4-ECBB-A945-B889-10B24DD72797}" dt="2021-06-10T06:34:24.517" v="176" actId="478"/>
          <ac:spMkLst>
            <pc:docMk/>
            <pc:sldMk cId="976277967" sldId="282"/>
            <ac:spMk id="4" creationId="{789531F4-2C11-4460-AAAE-1731575FD88B}"/>
          </ac:spMkLst>
        </pc:spChg>
        <pc:spChg chg="del">
          <ac:chgData name="Silviu Niculita" userId="c225ca43ec9c2f2d" providerId="LiveId" clId="{BBCA61B4-ECBB-A945-B889-10B24DD72797}" dt="2021-06-10T06:34:24.517" v="176" actId="478"/>
          <ac:spMkLst>
            <pc:docMk/>
            <pc:sldMk cId="976277967" sldId="282"/>
            <ac:spMk id="5" creationId="{7CA7B360-399A-4456-A75E-BAF4DD766E10}"/>
          </ac:spMkLst>
        </pc:spChg>
        <pc:spChg chg="del">
          <ac:chgData name="Silviu Niculita" userId="c225ca43ec9c2f2d" providerId="LiveId" clId="{BBCA61B4-ECBB-A945-B889-10B24DD72797}" dt="2021-06-10T06:34:24.517" v="176" actId="478"/>
          <ac:spMkLst>
            <pc:docMk/>
            <pc:sldMk cId="976277967" sldId="282"/>
            <ac:spMk id="6" creationId="{982FB861-3276-43D4-9D25-66DC508FFA96}"/>
          </ac:spMkLst>
        </pc:spChg>
      </pc:sldChg>
      <pc:sldChg chg="delSp mod">
        <pc:chgData name="Silviu Niculita" userId="c225ca43ec9c2f2d" providerId="LiveId" clId="{BBCA61B4-ECBB-A945-B889-10B24DD72797}" dt="2021-06-10T06:33:48.690" v="161" actId="478"/>
        <pc:sldMkLst>
          <pc:docMk/>
          <pc:sldMk cId="1038780102" sldId="283"/>
        </pc:sldMkLst>
        <pc:spChg chg="del">
          <ac:chgData name="Silviu Niculita" userId="c225ca43ec9c2f2d" providerId="LiveId" clId="{BBCA61B4-ECBB-A945-B889-10B24DD72797}" dt="2021-06-10T06:33:47.038" v="160" actId="478"/>
          <ac:spMkLst>
            <pc:docMk/>
            <pc:sldMk cId="1038780102" sldId="283"/>
            <ac:spMk id="4" creationId="{789531F4-2C11-4460-AAAE-1731575FD88B}"/>
          </ac:spMkLst>
        </pc:spChg>
        <pc:spChg chg="del">
          <ac:chgData name="Silviu Niculita" userId="c225ca43ec9c2f2d" providerId="LiveId" clId="{BBCA61B4-ECBB-A945-B889-10B24DD72797}" dt="2021-06-10T06:33:45.616" v="159" actId="478"/>
          <ac:spMkLst>
            <pc:docMk/>
            <pc:sldMk cId="1038780102" sldId="283"/>
            <ac:spMk id="5" creationId="{7CA7B360-399A-4456-A75E-BAF4DD766E10}"/>
          </ac:spMkLst>
        </pc:spChg>
        <pc:spChg chg="del">
          <ac:chgData name="Silviu Niculita" userId="c225ca43ec9c2f2d" providerId="LiveId" clId="{BBCA61B4-ECBB-A945-B889-10B24DD72797}" dt="2021-06-10T06:33:48.690" v="161" actId="478"/>
          <ac:spMkLst>
            <pc:docMk/>
            <pc:sldMk cId="1038780102" sldId="283"/>
            <ac:spMk id="6" creationId="{982FB861-3276-43D4-9D25-66DC508FFA96}"/>
          </ac:spMkLst>
        </pc:spChg>
      </pc:sldChg>
      <pc:sldChg chg="delSp mod">
        <pc:chgData name="Silviu Niculita" userId="c225ca43ec9c2f2d" providerId="LiveId" clId="{BBCA61B4-ECBB-A945-B889-10B24DD72797}" dt="2021-06-10T06:33:39.789" v="158" actId="478"/>
        <pc:sldMkLst>
          <pc:docMk/>
          <pc:sldMk cId="930944531" sldId="284"/>
        </pc:sldMkLst>
        <pc:spChg chg="del">
          <ac:chgData name="Silviu Niculita" userId="c225ca43ec9c2f2d" providerId="LiveId" clId="{BBCA61B4-ECBB-A945-B889-10B24DD72797}" dt="2021-06-10T06:33:36.284" v="156" actId="478"/>
          <ac:spMkLst>
            <pc:docMk/>
            <pc:sldMk cId="930944531" sldId="284"/>
            <ac:spMk id="4" creationId="{789531F4-2C11-4460-AAAE-1731575FD88B}"/>
          </ac:spMkLst>
        </pc:spChg>
        <pc:spChg chg="del">
          <ac:chgData name="Silviu Niculita" userId="c225ca43ec9c2f2d" providerId="LiveId" clId="{BBCA61B4-ECBB-A945-B889-10B24DD72797}" dt="2021-06-10T06:33:38.145" v="157" actId="478"/>
          <ac:spMkLst>
            <pc:docMk/>
            <pc:sldMk cId="930944531" sldId="284"/>
            <ac:spMk id="5" creationId="{7CA7B360-399A-4456-A75E-BAF4DD766E10}"/>
          </ac:spMkLst>
        </pc:spChg>
        <pc:spChg chg="del">
          <ac:chgData name="Silviu Niculita" userId="c225ca43ec9c2f2d" providerId="LiveId" clId="{BBCA61B4-ECBB-A945-B889-10B24DD72797}" dt="2021-06-10T06:33:39.789" v="158" actId="478"/>
          <ac:spMkLst>
            <pc:docMk/>
            <pc:sldMk cId="930944531" sldId="284"/>
            <ac:spMk id="6" creationId="{982FB861-3276-43D4-9D25-66DC508FFA96}"/>
          </ac:spMkLst>
        </pc:spChg>
      </pc:sldChg>
      <pc:sldChg chg="delSp mod">
        <pc:chgData name="Silviu Niculita" userId="c225ca43ec9c2f2d" providerId="LiveId" clId="{BBCA61B4-ECBB-A945-B889-10B24DD72797}" dt="2021-06-10T06:33:31.681" v="155" actId="478"/>
        <pc:sldMkLst>
          <pc:docMk/>
          <pc:sldMk cId="940167221" sldId="285"/>
        </pc:sldMkLst>
        <pc:spChg chg="del">
          <ac:chgData name="Silviu Niculita" userId="c225ca43ec9c2f2d" providerId="LiveId" clId="{BBCA61B4-ECBB-A945-B889-10B24DD72797}" dt="2021-06-10T06:33:30.416" v="154" actId="478"/>
          <ac:spMkLst>
            <pc:docMk/>
            <pc:sldMk cId="940167221" sldId="285"/>
            <ac:spMk id="4" creationId="{789531F4-2C11-4460-AAAE-1731575FD88B}"/>
          </ac:spMkLst>
        </pc:spChg>
        <pc:spChg chg="del">
          <ac:chgData name="Silviu Niculita" userId="c225ca43ec9c2f2d" providerId="LiveId" clId="{BBCA61B4-ECBB-A945-B889-10B24DD72797}" dt="2021-06-10T06:33:30.416" v="154" actId="478"/>
          <ac:spMkLst>
            <pc:docMk/>
            <pc:sldMk cId="940167221" sldId="285"/>
            <ac:spMk id="5" creationId="{7CA7B360-399A-4456-A75E-BAF4DD766E10}"/>
          </ac:spMkLst>
        </pc:spChg>
        <pc:spChg chg="del">
          <ac:chgData name="Silviu Niculita" userId="c225ca43ec9c2f2d" providerId="LiveId" clId="{BBCA61B4-ECBB-A945-B889-10B24DD72797}" dt="2021-06-10T06:33:31.681" v="155" actId="478"/>
          <ac:spMkLst>
            <pc:docMk/>
            <pc:sldMk cId="940167221" sldId="285"/>
            <ac:spMk id="6" creationId="{982FB861-3276-43D4-9D25-66DC508FFA96}"/>
          </ac:spMkLst>
        </pc:spChg>
      </pc:sldChg>
      <pc:sldChg chg="delSp mod">
        <pc:chgData name="Silviu Niculita" userId="c225ca43ec9c2f2d" providerId="LiveId" clId="{BBCA61B4-ECBB-A945-B889-10B24DD72797}" dt="2021-06-10T06:33:25.213" v="153" actId="478"/>
        <pc:sldMkLst>
          <pc:docMk/>
          <pc:sldMk cId="24166921" sldId="286"/>
        </pc:sldMkLst>
        <pc:spChg chg="del">
          <ac:chgData name="Silviu Niculita" userId="c225ca43ec9c2f2d" providerId="LiveId" clId="{BBCA61B4-ECBB-A945-B889-10B24DD72797}" dt="2021-06-10T06:33:23.947" v="152" actId="478"/>
          <ac:spMkLst>
            <pc:docMk/>
            <pc:sldMk cId="24166921" sldId="286"/>
            <ac:spMk id="4" creationId="{789531F4-2C11-4460-AAAE-1731575FD88B}"/>
          </ac:spMkLst>
        </pc:spChg>
        <pc:spChg chg="del">
          <ac:chgData name="Silviu Niculita" userId="c225ca43ec9c2f2d" providerId="LiveId" clId="{BBCA61B4-ECBB-A945-B889-10B24DD72797}" dt="2021-06-10T06:33:23.947" v="152" actId="478"/>
          <ac:spMkLst>
            <pc:docMk/>
            <pc:sldMk cId="24166921" sldId="286"/>
            <ac:spMk id="5" creationId="{7CA7B360-399A-4456-A75E-BAF4DD766E10}"/>
          </ac:spMkLst>
        </pc:spChg>
        <pc:spChg chg="del">
          <ac:chgData name="Silviu Niculita" userId="c225ca43ec9c2f2d" providerId="LiveId" clId="{BBCA61B4-ECBB-A945-B889-10B24DD72797}" dt="2021-06-10T06:33:25.213" v="153" actId="478"/>
          <ac:spMkLst>
            <pc:docMk/>
            <pc:sldMk cId="24166921" sldId="286"/>
            <ac:spMk id="6" creationId="{982FB861-3276-43D4-9D25-66DC508FFA96}"/>
          </ac:spMkLst>
        </pc:spChg>
      </pc:sldChg>
      <pc:sldChg chg="delSp mod">
        <pc:chgData name="Silviu Niculita" userId="c225ca43ec9c2f2d" providerId="LiveId" clId="{BBCA61B4-ECBB-A945-B889-10B24DD72797}" dt="2021-06-10T06:33:17.725" v="151" actId="478"/>
        <pc:sldMkLst>
          <pc:docMk/>
          <pc:sldMk cId="1865425696" sldId="287"/>
        </pc:sldMkLst>
        <pc:spChg chg="del">
          <ac:chgData name="Silviu Niculita" userId="c225ca43ec9c2f2d" providerId="LiveId" clId="{BBCA61B4-ECBB-A945-B889-10B24DD72797}" dt="2021-06-10T06:33:14.989" v="149" actId="478"/>
          <ac:spMkLst>
            <pc:docMk/>
            <pc:sldMk cId="1865425696" sldId="287"/>
            <ac:spMk id="4" creationId="{789531F4-2C11-4460-AAAE-1731575FD88B}"/>
          </ac:spMkLst>
        </pc:spChg>
        <pc:spChg chg="del">
          <ac:chgData name="Silviu Niculita" userId="c225ca43ec9c2f2d" providerId="LiveId" clId="{BBCA61B4-ECBB-A945-B889-10B24DD72797}" dt="2021-06-10T06:33:16.087" v="150" actId="478"/>
          <ac:spMkLst>
            <pc:docMk/>
            <pc:sldMk cId="1865425696" sldId="287"/>
            <ac:spMk id="5" creationId="{7CA7B360-399A-4456-A75E-BAF4DD766E10}"/>
          </ac:spMkLst>
        </pc:spChg>
        <pc:spChg chg="del">
          <ac:chgData name="Silviu Niculita" userId="c225ca43ec9c2f2d" providerId="LiveId" clId="{BBCA61B4-ECBB-A945-B889-10B24DD72797}" dt="2021-06-10T06:33:17.725" v="151" actId="478"/>
          <ac:spMkLst>
            <pc:docMk/>
            <pc:sldMk cId="1865425696" sldId="287"/>
            <ac:spMk id="6" creationId="{982FB861-3276-43D4-9D25-66DC508FFA96}"/>
          </ac:spMkLst>
        </pc:spChg>
      </pc:sldChg>
      <pc:sldChg chg="addSp delSp modSp mod">
        <pc:chgData name="Silviu Niculita" userId="c225ca43ec9c2f2d" providerId="LiveId" clId="{BBCA61B4-ECBB-A945-B889-10B24DD72797}" dt="2021-06-10T08:49:18.517" v="406" actId="404"/>
        <pc:sldMkLst>
          <pc:docMk/>
          <pc:sldMk cId="1857886344" sldId="308"/>
        </pc:sldMkLst>
        <pc:spChg chg="mod">
          <ac:chgData name="Silviu Niculita" userId="c225ca43ec9c2f2d" providerId="LiveId" clId="{BBCA61B4-ECBB-A945-B889-10B24DD72797}" dt="2021-06-10T08:49:18.517" v="406" actId="404"/>
          <ac:spMkLst>
            <pc:docMk/>
            <pc:sldMk cId="1857886344" sldId="308"/>
            <ac:spMk id="2" creationId="{F34FEB2E-1CA7-481A-B6FA-FB99FE055131}"/>
          </ac:spMkLst>
        </pc:spChg>
        <pc:spChg chg="add del">
          <ac:chgData name="Silviu Niculita" userId="c225ca43ec9c2f2d" providerId="LiveId" clId="{BBCA61B4-ECBB-A945-B889-10B24DD72797}" dt="2021-06-10T06:32:55.570" v="142" actId="478"/>
          <ac:spMkLst>
            <pc:docMk/>
            <pc:sldMk cId="1857886344" sldId="308"/>
            <ac:spMk id="3" creationId="{CFBA968C-4DEC-4CC9-AD45-0B37E70DE632}"/>
          </ac:spMkLst>
        </pc:spChg>
        <pc:spChg chg="add del">
          <ac:chgData name="Silviu Niculita" userId="c225ca43ec9c2f2d" providerId="LiveId" clId="{BBCA61B4-ECBB-A945-B889-10B24DD72797}" dt="2021-06-10T06:32:57.130" v="143" actId="478"/>
          <ac:spMkLst>
            <pc:docMk/>
            <pc:sldMk cId="1857886344" sldId="308"/>
            <ac:spMk id="4" creationId="{5B6B634D-416B-4A41-A38E-D101E42F128A}"/>
          </ac:spMkLst>
        </pc:spChg>
        <pc:spChg chg="add del">
          <ac:chgData name="Silviu Niculita" userId="c225ca43ec9c2f2d" providerId="LiveId" clId="{BBCA61B4-ECBB-A945-B889-10B24DD72797}" dt="2021-06-10T06:32:57.885" v="144" actId="478"/>
          <ac:spMkLst>
            <pc:docMk/>
            <pc:sldMk cId="1857886344" sldId="308"/>
            <ac:spMk id="5" creationId="{58F2B1E8-ACAD-4D17-9410-725A72736FC4}"/>
          </ac:spMkLst>
        </pc:spChg>
        <pc:spChg chg="add del">
          <ac:chgData name="Silviu Niculita" userId="c225ca43ec9c2f2d" providerId="LiveId" clId="{BBCA61B4-ECBB-A945-B889-10B24DD72797}" dt="2021-06-10T06:33:00.068" v="145" actId="478"/>
          <ac:spMkLst>
            <pc:docMk/>
            <pc:sldMk cId="1857886344" sldId="308"/>
            <ac:spMk id="6" creationId="{23D1C8CF-2565-4DC5-BAAB-43B6AE2F5886}"/>
          </ac:spMkLst>
        </pc:spChg>
      </pc:sldChg>
      <pc:sldChg chg="delSp modSp mod">
        <pc:chgData name="Silviu Niculita" userId="c225ca43ec9c2f2d" providerId="LiveId" clId="{BBCA61B4-ECBB-A945-B889-10B24DD72797}" dt="2021-06-10T09:12:18.916" v="848" actId="1076"/>
        <pc:sldMkLst>
          <pc:docMk/>
          <pc:sldMk cId="3689473222" sldId="309"/>
        </pc:sldMkLst>
        <pc:spChg chg="mod">
          <ac:chgData name="Silviu Niculita" userId="c225ca43ec9c2f2d" providerId="LiveId" clId="{BBCA61B4-ECBB-A945-B889-10B24DD72797}" dt="2021-06-10T09:12:12.326" v="847" actId="20577"/>
          <ac:spMkLst>
            <pc:docMk/>
            <pc:sldMk cId="3689473222" sldId="309"/>
            <ac:spMk id="3" creationId="{AC3D1BF0-3CFC-4266-8A8D-A594E9C12D8B}"/>
          </ac:spMkLst>
        </pc:spChg>
        <pc:spChg chg="del">
          <ac:chgData name="Silviu Niculita" userId="c225ca43ec9c2f2d" providerId="LiveId" clId="{BBCA61B4-ECBB-A945-B889-10B24DD72797}" dt="2021-06-10T06:10:26.838" v="13" actId="478"/>
          <ac:spMkLst>
            <pc:docMk/>
            <pc:sldMk cId="3689473222" sldId="309"/>
            <ac:spMk id="4" creationId="{430ABB03-D76C-4177-8699-7CD32AE43C0B}"/>
          </ac:spMkLst>
        </pc:spChg>
        <pc:spChg chg="del">
          <ac:chgData name="Silviu Niculita" userId="c225ca43ec9c2f2d" providerId="LiveId" clId="{BBCA61B4-ECBB-A945-B889-10B24DD72797}" dt="2021-06-10T06:10:24.534" v="12" actId="478"/>
          <ac:spMkLst>
            <pc:docMk/>
            <pc:sldMk cId="3689473222" sldId="309"/>
            <ac:spMk id="5" creationId="{47C81651-EAEE-40FF-A890-6845CA1BC33F}"/>
          </ac:spMkLst>
        </pc:spChg>
        <pc:spChg chg="del">
          <ac:chgData name="Silviu Niculita" userId="c225ca43ec9c2f2d" providerId="LiveId" clId="{BBCA61B4-ECBB-A945-B889-10B24DD72797}" dt="2021-06-10T06:10:22.749" v="11" actId="478"/>
          <ac:spMkLst>
            <pc:docMk/>
            <pc:sldMk cId="3689473222" sldId="309"/>
            <ac:spMk id="6" creationId="{2940A016-5CE1-4585-A902-61EEC8D56304}"/>
          </ac:spMkLst>
        </pc:spChg>
        <pc:graphicFrameChg chg="mod">
          <ac:chgData name="Silviu Niculita" userId="c225ca43ec9c2f2d" providerId="LiveId" clId="{BBCA61B4-ECBB-A945-B889-10B24DD72797}" dt="2021-06-10T09:12:18.916" v="848" actId="1076"/>
          <ac:graphicFrameMkLst>
            <pc:docMk/>
            <pc:sldMk cId="3689473222" sldId="309"/>
            <ac:graphicFrameMk id="9" creationId="{270D2DC6-FA3D-43F5-9BF0-95B136FFCC64}"/>
          </ac:graphicFrameMkLst>
        </pc:graphicFrameChg>
      </pc:sldChg>
      <pc:sldChg chg="delSp modSp mod">
        <pc:chgData name="Silviu Niculita" userId="c225ca43ec9c2f2d" providerId="LiveId" clId="{BBCA61B4-ECBB-A945-B889-10B24DD72797}" dt="2021-06-10T06:10:49.061" v="21" actId="6549"/>
        <pc:sldMkLst>
          <pc:docMk/>
          <pc:sldMk cId="739542184" sldId="310"/>
        </pc:sldMkLst>
        <pc:spChg chg="mod">
          <ac:chgData name="Silviu Niculita" userId="c225ca43ec9c2f2d" providerId="LiveId" clId="{BBCA61B4-ECBB-A945-B889-10B24DD72797}" dt="2021-06-10T06:10:49.061" v="21" actId="6549"/>
          <ac:spMkLst>
            <pc:docMk/>
            <pc:sldMk cId="739542184" sldId="310"/>
            <ac:spMk id="3" creationId="{39679D6B-1414-46CA-ABE1-78B6E4494B7E}"/>
          </ac:spMkLst>
        </pc:spChg>
        <pc:spChg chg="del">
          <ac:chgData name="Silviu Niculita" userId="c225ca43ec9c2f2d" providerId="LiveId" clId="{BBCA61B4-ECBB-A945-B889-10B24DD72797}" dt="2021-06-10T06:10:43.358" v="19" actId="478"/>
          <ac:spMkLst>
            <pc:docMk/>
            <pc:sldMk cId="739542184" sldId="310"/>
            <ac:spMk id="4" creationId="{F1A0AFD4-05E1-4C6E-9059-C3297FCF8FF9}"/>
          </ac:spMkLst>
        </pc:spChg>
        <pc:spChg chg="del">
          <ac:chgData name="Silviu Niculita" userId="c225ca43ec9c2f2d" providerId="LiveId" clId="{BBCA61B4-ECBB-A945-B889-10B24DD72797}" dt="2021-06-10T06:10:41.541" v="18" actId="478"/>
          <ac:spMkLst>
            <pc:docMk/>
            <pc:sldMk cId="739542184" sldId="310"/>
            <ac:spMk id="5" creationId="{50E16695-FB17-4A7A-BDA9-274F26E02A0F}"/>
          </ac:spMkLst>
        </pc:spChg>
        <pc:spChg chg="del">
          <ac:chgData name="Silviu Niculita" userId="c225ca43ec9c2f2d" providerId="LiveId" clId="{BBCA61B4-ECBB-A945-B889-10B24DD72797}" dt="2021-06-10T06:10:40.337" v="17" actId="478"/>
          <ac:spMkLst>
            <pc:docMk/>
            <pc:sldMk cId="739542184" sldId="310"/>
            <ac:spMk id="6" creationId="{FAB63C73-3274-4DFA-9273-781EDA588DC5}"/>
          </ac:spMkLst>
        </pc:spChg>
      </pc:sldChg>
      <pc:sldChg chg="delSp mod">
        <pc:chgData name="Silviu Niculita" userId="c225ca43ec9c2f2d" providerId="LiveId" clId="{BBCA61B4-ECBB-A945-B889-10B24DD72797}" dt="2021-06-10T06:11:57.809" v="30" actId="478"/>
        <pc:sldMkLst>
          <pc:docMk/>
          <pc:sldMk cId="1851355048" sldId="311"/>
        </pc:sldMkLst>
        <pc:spChg chg="del">
          <ac:chgData name="Silviu Niculita" userId="c225ca43ec9c2f2d" providerId="LiveId" clId="{BBCA61B4-ECBB-A945-B889-10B24DD72797}" dt="2021-06-10T06:11:52.829" v="29" actId="478"/>
          <ac:spMkLst>
            <pc:docMk/>
            <pc:sldMk cId="1851355048" sldId="311"/>
            <ac:spMk id="4" creationId="{04099812-2B9C-4285-992F-7C789AA31C86}"/>
          </ac:spMkLst>
        </pc:spChg>
        <pc:spChg chg="del">
          <ac:chgData name="Silviu Niculita" userId="c225ca43ec9c2f2d" providerId="LiveId" clId="{BBCA61B4-ECBB-A945-B889-10B24DD72797}" dt="2021-06-10T06:11:51.328" v="28" actId="478"/>
          <ac:spMkLst>
            <pc:docMk/>
            <pc:sldMk cId="1851355048" sldId="311"/>
            <ac:spMk id="5" creationId="{C4FC10EA-7BF6-4825-A6FC-C2200F18EC38}"/>
          </ac:spMkLst>
        </pc:spChg>
        <pc:spChg chg="del">
          <ac:chgData name="Silviu Niculita" userId="c225ca43ec9c2f2d" providerId="LiveId" clId="{BBCA61B4-ECBB-A945-B889-10B24DD72797}" dt="2021-06-10T06:11:57.809" v="30" actId="478"/>
          <ac:spMkLst>
            <pc:docMk/>
            <pc:sldMk cId="1851355048" sldId="311"/>
            <ac:spMk id="6" creationId="{95DD6E5B-6A13-4C52-BFC2-70E72EA4890C}"/>
          </ac:spMkLst>
        </pc:spChg>
      </pc:sldChg>
      <pc:sldChg chg="delSp mod">
        <pc:chgData name="Silviu Niculita" userId="c225ca43ec9c2f2d" providerId="LiveId" clId="{BBCA61B4-ECBB-A945-B889-10B24DD72797}" dt="2021-06-10T06:12:06.757" v="33" actId="478"/>
        <pc:sldMkLst>
          <pc:docMk/>
          <pc:sldMk cId="3212964902" sldId="312"/>
        </pc:sldMkLst>
        <pc:spChg chg="del">
          <ac:chgData name="Silviu Niculita" userId="c225ca43ec9c2f2d" providerId="LiveId" clId="{BBCA61B4-ECBB-A945-B889-10B24DD72797}" dt="2021-06-10T06:12:04.085" v="32" actId="478"/>
          <ac:spMkLst>
            <pc:docMk/>
            <pc:sldMk cId="3212964902" sldId="312"/>
            <ac:spMk id="4" creationId="{04099812-2B9C-4285-992F-7C789AA31C86}"/>
          </ac:spMkLst>
        </pc:spChg>
        <pc:spChg chg="del">
          <ac:chgData name="Silviu Niculita" userId="c225ca43ec9c2f2d" providerId="LiveId" clId="{BBCA61B4-ECBB-A945-B889-10B24DD72797}" dt="2021-06-10T06:12:02.286" v="31" actId="478"/>
          <ac:spMkLst>
            <pc:docMk/>
            <pc:sldMk cId="3212964902" sldId="312"/>
            <ac:spMk id="5" creationId="{C4FC10EA-7BF6-4825-A6FC-C2200F18EC38}"/>
          </ac:spMkLst>
        </pc:spChg>
        <pc:spChg chg="del">
          <ac:chgData name="Silviu Niculita" userId="c225ca43ec9c2f2d" providerId="LiveId" clId="{BBCA61B4-ECBB-A945-B889-10B24DD72797}" dt="2021-06-10T06:12:06.757" v="33" actId="478"/>
          <ac:spMkLst>
            <pc:docMk/>
            <pc:sldMk cId="3212964902" sldId="312"/>
            <ac:spMk id="6" creationId="{95DD6E5B-6A13-4C52-BFC2-70E72EA4890C}"/>
          </ac:spMkLst>
        </pc:spChg>
      </pc:sldChg>
      <pc:sldChg chg="delSp modSp mod">
        <pc:chgData name="Silviu Niculita" userId="c225ca43ec9c2f2d" providerId="LiveId" clId="{BBCA61B4-ECBB-A945-B889-10B24DD72797}" dt="2021-06-10T06:50:08.301" v="280" actId="20577"/>
        <pc:sldMkLst>
          <pc:docMk/>
          <pc:sldMk cId="2663419182" sldId="313"/>
        </pc:sldMkLst>
        <pc:spChg chg="mod">
          <ac:chgData name="Silviu Niculita" userId="c225ca43ec9c2f2d" providerId="LiveId" clId="{BBCA61B4-ECBB-A945-B889-10B24DD72797}" dt="2021-06-10T06:50:08.301" v="280" actId="20577"/>
          <ac:spMkLst>
            <pc:docMk/>
            <pc:sldMk cId="2663419182" sldId="313"/>
            <ac:spMk id="3" creationId="{CF795590-CDD1-4938-B314-F61DF95D77B0}"/>
          </ac:spMkLst>
        </pc:spChg>
        <pc:spChg chg="del">
          <ac:chgData name="Silviu Niculita" userId="c225ca43ec9c2f2d" providerId="LiveId" clId="{BBCA61B4-ECBB-A945-B889-10B24DD72797}" dt="2021-06-10T06:12:24.105" v="39" actId="478"/>
          <ac:spMkLst>
            <pc:docMk/>
            <pc:sldMk cId="2663419182" sldId="313"/>
            <ac:spMk id="4" creationId="{04099812-2B9C-4285-992F-7C789AA31C86}"/>
          </ac:spMkLst>
        </pc:spChg>
        <pc:spChg chg="del">
          <ac:chgData name="Silviu Niculita" userId="c225ca43ec9c2f2d" providerId="LiveId" clId="{BBCA61B4-ECBB-A945-B889-10B24DD72797}" dt="2021-06-10T06:12:25.235" v="40" actId="478"/>
          <ac:spMkLst>
            <pc:docMk/>
            <pc:sldMk cId="2663419182" sldId="313"/>
            <ac:spMk id="5" creationId="{C4FC10EA-7BF6-4825-A6FC-C2200F18EC38}"/>
          </ac:spMkLst>
        </pc:spChg>
        <pc:spChg chg="del">
          <ac:chgData name="Silviu Niculita" userId="c225ca43ec9c2f2d" providerId="LiveId" clId="{BBCA61B4-ECBB-A945-B889-10B24DD72797}" dt="2021-06-10T06:12:27.590" v="41" actId="478"/>
          <ac:spMkLst>
            <pc:docMk/>
            <pc:sldMk cId="2663419182" sldId="313"/>
            <ac:spMk id="6" creationId="{95DD6E5B-6A13-4C52-BFC2-70E72EA4890C}"/>
          </ac:spMkLst>
        </pc:spChg>
      </pc:sldChg>
      <pc:sldChg chg="delSp mod">
        <pc:chgData name="Silviu Niculita" userId="c225ca43ec9c2f2d" providerId="LiveId" clId="{BBCA61B4-ECBB-A945-B889-10B24DD72797}" dt="2021-06-10T06:12:14.327" v="36" actId="478"/>
        <pc:sldMkLst>
          <pc:docMk/>
          <pc:sldMk cId="3424123993" sldId="314"/>
        </pc:sldMkLst>
        <pc:spChg chg="del">
          <ac:chgData name="Silviu Niculita" userId="c225ca43ec9c2f2d" providerId="LiveId" clId="{BBCA61B4-ECBB-A945-B889-10B24DD72797}" dt="2021-06-10T06:12:11.381" v="35" actId="478"/>
          <ac:spMkLst>
            <pc:docMk/>
            <pc:sldMk cId="3424123993" sldId="314"/>
            <ac:spMk id="4" creationId="{04099812-2B9C-4285-992F-7C789AA31C86}"/>
          </ac:spMkLst>
        </pc:spChg>
        <pc:spChg chg="del">
          <ac:chgData name="Silviu Niculita" userId="c225ca43ec9c2f2d" providerId="LiveId" clId="{BBCA61B4-ECBB-A945-B889-10B24DD72797}" dt="2021-06-10T06:12:09.826" v="34" actId="478"/>
          <ac:spMkLst>
            <pc:docMk/>
            <pc:sldMk cId="3424123993" sldId="314"/>
            <ac:spMk id="5" creationId="{C4FC10EA-7BF6-4825-A6FC-C2200F18EC38}"/>
          </ac:spMkLst>
        </pc:spChg>
        <pc:spChg chg="del">
          <ac:chgData name="Silviu Niculita" userId="c225ca43ec9c2f2d" providerId="LiveId" clId="{BBCA61B4-ECBB-A945-B889-10B24DD72797}" dt="2021-06-10T06:12:14.327" v="36" actId="478"/>
          <ac:spMkLst>
            <pc:docMk/>
            <pc:sldMk cId="3424123993" sldId="314"/>
            <ac:spMk id="6" creationId="{95DD6E5B-6A13-4C52-BFC2-70E72EA4890C}"/>
          </ac:spMkLst>
        </pc:spChg>
      </pc:sldChg>
      <pc:sldChg chg="addSp delSp modSp mod modClrScheme chgLayout">
        <pc:chgData name="Silviu Niculita" userId="c225ca43ec9c2f2d" providerId="LiveId" clId="{BBCA61B4-ECBB-A945-B889-10B24DD72797}" dt="2021-06-10T08:50:37.015" v="442" actId="478"/>
        <pc:sldMkLst>
          <pc:docMk/>
          <pc:sldMk cId="2737821328" sldId="315"/>
        </pc:sldMkLst>
        <pc:spChg chg="mod ord">
          <ac:chgData name="Silviu Niculita" userId="c225ca43ec9c2f2d" providerId="LiveId" clId="{BBCA61B4-ECBB-A945-B889-10B24DD72797}" dt="2021-06-10T06:11:42.507" v="27" actId="700"/>
          <ac:spMkLst>
            <pc:docMk/>
            <pc:sldMk cId="2737821328" sldId="315"/>
            <ac:spMk id="2" creationId="{B021E3B9-5670-42B5-BC10-79611A518D11}"/>
          </ac:spMkLst>
        </pc:spChg>
        <pc:spChg chg="add del mod ord">
          <ac:chgData name="Silviu Niculita" userId="c225ca43ec9c2f2d" providerId="LiveId" clId="{BBCA61B4-ECBB-A945-B889-10B24DD72797}" dt="2021-06-10T06:11:42.507" v="27" actId="700"/>
          <ac:spMkLst>
            <pc:docMk/>
            <pc:sldMk cId="2737821328" sldId="315"/>
            <ac:spMk id="3" creationId="{1868F39F-69B2-784F-977E-D7BB04D7B401}"/>
          </ac:spMkLst>
        </pc:spChg>
        <pc:spChg chg="del">
          <ac:chgData name="Silviu Niculita" userId="c225ca43ec9c2f2d" providerId="LiveId" clId="{BBCA61B4-ECBB-A945-B889-10B24DD72797}" dt="2021-06-10T06:10:30.693" v="14" actId="478"/>
          <ac:spMkLst>
            <pc:docMk/>
            <pc:sldMk cId="2737821328" sldId="315"/>
            <ac:spMk id="4" creationId="{30AD13A5-3F7F-429D-BA19-EF560B4BB4E8}"/>
          </ac:spMkLst>
        </pc:spChg>
        <pc:spChg chg="del">
          <ac:chgData name="Silviu Niculita" userId="c225ca43ec9c2f2d" providerId="LiveId" clId="{BBCA61B4-ECBB-A945-B889-10B24DD72797}" dt="2021-06-10T06:10:35.089" v="16" actId="478"/>
          <ac:spMkLst>
            <pc:docMk/>
            <pc:sldMk cId="2737821328" sldId="315"/>
            <ac:spMk id="5" creationId="{FB6B432A-1829-4EA7-893C-745670E133BF}"/>
          </ac:spMkLst>
        </pc:spChg>
        <pc:spChg chg="del">
          <ac:chgData name="Silviu Niculita" userId="c225ca43ec9c2f2d" providerId="LiveId" clId="{BBCA61B4-ECBB-A945-B889-10B24DD72797}" dt="2021-06-10T06:10:33.633" v="15" actId="478"/>
          <ac:spMkLst>
            <pc:docMk/>
            <pc:sldMk cId="2737821328" sldId="315"/>
            <ac:spMk id="6" creationId="{A67CF29E-52E5-4201-948F-E6E34CE83717}"/>
          </ac:spMkLst>
        </pc:spChg>
        <pc:spChg chg="add del mod ord">
          <ac:chgData name="Silviu Niculita" userId="c225ca43ec9c2f2d" providerId="LiveId" clId="{BBCA61B4-ECBB-A945-B889-10B24DD72797}" dt="2021-06-10T08:50:37.015" v="442" actId="478"/>
          <ac:spMkLst>
            <pc:docMk/>
            <pc:sldMk cId="2737821328" sldId="315"/>
            <ac:spMk id="8" creationId="{415144C2-8BE0-4BEC-A0D6-C4B6D1DDD59F}"/>
          </ac:spMkLst>
        </pc:spChg>
      </pc:sldChg>
      <pc:sldChg chg="addSp delSp modSp mod modClrScheme chgLayout">
        <pc:chgData name="Silviu Niculita" userId="c225ca43ec9c2f2d" providerId="LiveId" clId="{BBCA61B4-ECBB-A945-B889-10B24DD72797}" dt="2021-06-10T06:15:42.243" v="73" actId="478"/>
        <pc:sldMkLst>
          <pc:docMk/>
          <pc:sldMk cId="2686126124" sldId="316"/>
        </pc:sldMkLst>
        <pc:spChg chg="mod ord">
          <ac:chgData name="Silviu Niculita" userId="c225ca43ec9c2f2d" providerId="LiveId" clId="{BBCA61B4-ECBB-A945-B889-10B24DD72797}" dt="2021-06-10T06:14:23.132" v="59" actId="700"/>
          <ac:spMkLst>
            <pc:docMk/>
            <pc:sldMk cId="2686126124" sldId="316"/>
            <ac:spMk id="2" creationId="{74B3E23D-40BA-42E4-BA99-9DA1BE969ED2}"/>
          </ac:spMkLst>
        </pc:spChg>
        <pc:spChg chg="add del mod ord">
          <ac:chgData name="Silviu Niculita" userId="c225ca43ec9c2f2d" providerId="LiveId" clId="{BBCA61B4-ECBB-A945-B889-10B24DD72797}" dt="2021-06-10T06:14:21.717" v="57" actId="700"/>
          <ac:spMkLst>
            <pc:docMk/>
            <pc:sldMk cId="2686126124" sldId="316"/>
            <ac:spMk id="3" creationId="{AAA2B0E8-9DCC-194D-8E42-0C1086D06060}"/>
          </ac:spMkLst>
        </pc:spChg>
        <pc:spChg chg="add del">
          <ac:chgData name="Silviu Niculita" userId="c225ca43ec9c2f2d" providerId="LiveId" clId="{BBCA61B4-ECBB-A945-B889-10B24DD72797}" dt="2021-06-10T06:14:28.575" v="62" actId="478"/>
          <ac:spMkLst>
            <pc:docMk/>
            <pc:sldMk cId="2686126124" sldId="316"/>
            <ac:spMk id="4" creationId="{30AD13A5-3F7F-429D-BA19-EF560B4BB4E8}"/>
          </ac:spMkLst>
        </pc:spChg>
        <pc:spChg chg="add del">
          <ac:chgData name="Silviu Niculita" userId="c225ca43ec9c2f2d" providerId="LiveId" clId="{BBCA61B4-ECBB-A945-B889-10B24DD72797}" dt="2021-06-10T06:14:29.959" v="63" actId="478"/>
          <ac:spMkLst>
            <pc:docMk/>
            <pc:sldMk cId="2686126124" sldId="316"/>
            <ac:spMk id="5" creationId="{FB6B432A-1829-4EA7-893C-745670E133BF}"/>
          </ac:spMkLst>
        </pc:spChg>
        <pc:spChg chg="add del mod ord">
          <ac:chgData name="Silviu Niculita" userId="c225ca43ec9c2f2d" providerId="LiveId" clId="{BBCA61B4-ECBB-A945-B889-10B24DD72797}" dt="2021-06-10T06:14:31.808" v="64" actId="478"/>
          <ac:spMkLst>
            <pc:docMk/>
            <pc:sldMk cId="2686126124" sldId="316"/>
            <ac:spMk id="6" creationId="{A67CF29E-52E5-4201-948F-E6E34CE83717}"/>
          </ac:spMkLst>
        </pc:spChg>
        <pc:spChg chg="add del">
          <ac:chgData name="Silviu Niculita" userId="c225ca43ec9c2f2d" providerId="LiveId" clId="{BBCA61B4-ECBB-A945-B889-10B24DD72797}" dt="2021-06-10T06:15:42.243" v="73" actId="478"/>
          <ac:spMkLst>
            <pc:docMk/>
            <pc:sldMk cId="2686126124" sldId="316"/>
            <ac:spMk id="8" creationId="{415144C2-8BE0-4BEC-A0D6-C4B6D1DDD59F}"/>
          </ac:spMkLst>
        </pc:spChg>
      </pc:sldChg>
      <pc:sldChg chg="delSp mod">
        <pc:chgData name="Silviu Niculita" userId="c225ca43ec9c2f2d" providerId="LiveId" clId="{BBCA61B4-ECBB-A945-B889-10B24DD72797}" dt="2021-06-10T06:12:33.481" v="43" actId="478"/>
        <pc:sldMkLst>
          <pc:docMk/>
          <pc:sldMk cId="2816419751" sldId="317"/>
        </pc:sldMkLst>
        <pc:spChg chg="del">
          <ac:chgData name="Silviu Niculita" userId="c225ca43ec9c2f2d" providerId="LiveId" clId="{BBCA61B4-ECBB-A945-B889-10B24DD72797}" dt="2021-06-10T06:12:31.585" v="42" actId="478"/>
          <ac:spMkLst>
            <pc:docMk/>
            <pc:sldMk cId="2816419751" sldId="317"/>
            <ac:spMk id="4" creationId="{2686F360-0A61-4091-8FA7-13AC5F49C88D}"/>
          </ac:spMkLst>
        </pc:spChg>
        <pc:spChg chg="del">
          <ac:chgData name="Silviu Niculita" userId="c225ca43ec9c2f2d" providerId="LiveId" clId="{BBCA61B4-ECBB-A945-B889-10B24DD72797}" dt="2021-06-10T06:12:33.481" v="43" actId="478"/>
          <ac:spMkLst>
            <pc:docMk/>
            <pc:sldMk cId="2816419751" sldId="317"/>
            <ac:spMk id="15" creationId="{1FC61BB8-209A-42D0-B3D5-94AF409765AC}"/>
          </ac:spMkLst>
        </pc:spChg>
      </pc:sldChg>
      <pc:sldChg chg="delSp modSp mod">
        <pc:chgData name="Silviu Niculita" userId="c225ca43ec9c2f2d" providerId="LiveId" clId="{BBCA61B4-ECBB-A945-B889-10B24DD72797}" dt="2021-06-10T06:16:10.891" v="79" actId="1076"/>
        <pc:sldMkLst>
          <pc:docMk/>
          <pc:sldMk cId="137761064" sldId="318"/>
        </pc:sldMkLst>
        <pc:spChg chg="del">
          <ac:chgData name="Silviu Niculita" userId="c225ca43ec9c2f2d" providerId="LiveId" clId="{BBCA61B4-ECBB-A945-B889-10B24DD72797}" dt="2021-06-10T06:16:04.812" v="77" actId="478"/>
          <ac:spMkLst>
            <pc:docMk/>
            <pc:sldMk cId="137761064" sldId="318"/>
            <ac:spMk id="4" creationId="{71BE943D-9D87-4DFF-9333-821B4E9E36FA}"/>
          </ac:spMkLst>
        </pc:spChg>
        <pc:spChg chg="del mod">
          <ac:chgData name="Silviu Niculita" userId="c225ca43ec9c2f2d" providerId="LiveId" clId="{BBCA61B4-ECBB-A945-B889-10B24DD72797}" dt="2021-06-10T06:16:06.576" v="78" actId="478"/>
          <ac:spMkLst>
            <pc:docMk/>
            <pc:sldMk cId="137761064" sldId="318"/>
            <ac:spMk id="12" creationId="{21F57DD6-4593-4AAD-83ED-F9809AE30CC0}"/>
          </ac:spMkLst>
        </pc:spChg>
        <pc:graphicFrameChg chg="mod">
          <ac:chgData name="Silviu Niculita" userId="c225ca43ec9c2f2d" providerId="LiveId" clId="{BBCA61B4-ECBB-A945-B889-10B24DD72797}" dt="2021-06-10T06:16:10.891" v="79" actId="1076"/>
          <ac:graphicFrameMkLst>
            <pc:docMk/>
            <pc:sldMk cId="137761064" sldId="318"/>
            <ac:graphicFrameMk id="8" creationId="{4A8CBAE0-2F4E-4385-A00D-D0531BCF2598}"/>
          </ac:graphicFrameMkLst>
        </pc:graphicFrameChg>
      </pc:sldChg>
      <pc:sldChg chg="delSp modSp mod">
        <pc:chgData name="Silviu Niculita" userId="c225ca43ec9c2f2d" providerId="LiveId" clId="{BBCA61B4-ECBB-A945-B889-10B24DD72797}" dt="2021-06-10T06:16:26.622" v="83" actId="14100"/>
        <pc:sldMkLst>
          <pc:docMk/>
          <pc:sldMk cId="393317927" sldId="319"/>
        </pc:sldMkLst>
        <pc:spChg chg="del">
          <ac:chgData name="Silviu Niculita" userId="c225ca43ec9c2f2d" providerId="LiveId" clId="{BBCA61B4-ECBB-A945-B889-10B24DD72797}" dt="2021-06-10T06:16:24.227" v="82" actId="478"/>
          <ac:spMkLst>
            <pc:docMk/>
            <pc:sldMk cId="393317927" sldId="319"/>
            <ac:spMk id="4" creationId="{71BE943D-9D87-4DFF-9333-821B4E9E36FA}"/>
          </ac:spMkLst>
        </pc:spChg>
        <pc:spChg chg="del">
          <ac:chgData name="Silviu Niculita" userId="c225ca43ec9c2f2d" providerId="LiveId" clId="{BBCA61B4-ECBB-A945-B889-10B24DD72797}" dt="2021-06-10T06:16:22.112" v="81" actId="478"/>
          <ac:spMkLst>
            <pc:docMk/>
            <pc:sldMk cId="393317927" sldId="319"/>
            <ac:spMk id="12" creationId="{6366581A-F967-4BBD-A771-E2BD29E9A95C}"/>
          </ac:spMkLst>
        </pc:spChg>
        <pc:graphicFrameChg chg="mod">
          <ac:chgData name="Silviu Niculita" userId="c225ca43ec9c2f2d" providerId="LiveId" clId="{BBCA61B4-ECBB-A945-B889-10B24DD72797}" dt="2021-06-10T06:16:26.622" v="83" actId="14100"/>
          <ac:graphicFrameMkLst>
            <pc:docMk/>
            <pc:sldMk cId="393317927" sldId="319"/>
            <ac:graphicFrameMk id="8" creationId="{64BD58F2-52DF-4C43-8E92-1B77580E6301}"/>
          </ac:graphicFrameMkLst>
        </pc:graphicFrameChg>
      </pc:sldChg>
      <pc:sldChg chg="delSp mod">
        <pc:chgData name="Silviu Niculita" userId="c225ca43ec9c2f2d" providerId="LiveId" clId="{BBCA61B4-ECBB-A945-B889-10B24DD72797}" dt="2021-06-10T06:42:03.123" v="254" actId="478"/>
        <pc:sldMkLst>
          <pc:docMk/>
          <pc:sldMk cId="2032021433" sldId="1931"/>
        </pc:sldMkLst>
        <pc:spChg chg="del">
          <ac:chgData name="Silviu Niculita" userId="c225ca43ec9c2f2d" providerId="LiveId" clId="{BBCA61B4-ECBB-A945-B889-10B24DD72797}" dt="2021-06-10T06:42:01.080" v="253" actId="478"/>
          <ac:spMkLst>
            <pc:docMk/>
            <pc:sldMk cId="2032021433" sldId="1931"/>
            <ac:spMk id="4" creationId="{83B94AC0-C39E-4E6C-98CC-435EC4ED9697}"/>
          </ac:spMkLst>
        </pc:spChg>
        <pc:spChg chg="del">
          <ac:chgData name="Silviu Niculita" userId="c225ca43ec9c2f2d" providerId="LiveId" clId="{BBCA61B4-ECBB-A945-B889-10B24DD72797}" dt="2021-06-10T06:42:01.080" v="253" actId="478"/>
          <ac:spMkLst>
            <pc:docMk/>
            <pc:sldMk cId="2032021433" sldId="1931"/>
            <ac:spMk id="5" creationId="{33DC54A0-95A4-43EF-B423-89673BE08D93}"/>
          </ac:spMkLst>
        </pc:spChg>
        <pc:spChg chg="del">
          <ac:chgData name="Silviu Niculita" userId="c225ca43ec9c2f2d" providerId="LiveId" clId="{BBCA61B4-ECBB-A945-B889-10B24DD72797}" dt="2021-06-10T06:42:01.080" v="253" actId="478"/>
          <ac:spMkLst>
            <pc:docMk/>
            <pc:sldMk cId="2032021433" sldId="1931"/>
            <ac:spMk id="6" creationId="{E788EB95-68DA-4DEF-8254-552F08C2FD3A}"/>
          </ac:spMkLst>
        </pc:spChg>
        <pc:spChg chg="del">
          <ac:chgData name="Silviu Niculita" userId="c225ca43ec9c2f2d" providerId="LiveId" clId="{BBCA61B4-ECBB-A945-B889-10B24DD72797}" dt="2021-06-10T06:42:03.123" v="254" actId="478"/>
          <ac:spMkLst>
            <pc:docMk/>
            <pc:sldMk cId="2032021433" sldId="1931"/>
            <ac:spMk id="8" creationId="{5772F93C-3DBB-4748-8ACE-EB30B8952C05}"/>
          </ac:spMkLst>
        </pc:spChg>
      </pc:sldChg>
      <pc:sldChg chg="delSp mod">
        <pc:chgData name="Silviu Niculita" userId="c225ca43ec9c2f2d" providerId="LiveId" clId="{BBCA61B4-ECBB-A945-B889-10B24DD72797}" dt="2021-06-10T06:39:17.001" v="223" actId="478"/>
        <pc:sldMkLst>
          <pc:docMk/>
          <pc:sldMk cId="188968383" sldId="1932"/>
        </pc:sldMkLst>
        <pc:spChg chg="del">
          <ac:chgData name="Silviu Niculita" userId="c225ca43ec9c2f2d" providerId="LiveId" clId="{BBCA61B4-ECBB-A945-B889-10B24DD72797}" dt="2021-06-10T06:39:15.513" v="222" actId="478"/>
          <ac:spMkLst>
            <pc:docMk/>
            <pc:sldMk cId="188968383" sldId="1932"/>
            <ac:spMk id="4" creationId="{4D8EB76C-8585-407A-B7BA-8FD858C196A4}"/>
          </ac:spMkLst>
        </pc:spChg>
        <pc:spChg chg="del">
          <ac:chgData name="Silviu Niculita" userId="c225ca43ec9c2f2d" providerId="LiveId" clId="{BBCA61B4-ECBB-A945-B889-10B24DD72797}" dt="2021-06-10T06:39:15.513" v="222" actId="478"/>
          <ac:spMkLst>
            <pc:docMk/>
            <pc:sldMk cId="188968383" sldId="1932"/>
            <ac:spMk id="5" creationId="{C557A30F-43E6-4D80-BE03-697112A521A4}"/>
          </ac:spMkLst>
        </pc:spChg>
        <pc:spChg chg="del">
          <ac:chgData name="Silviu Niculita" userId="c225ca43ec9c2f2d" providerId="LiveId" clId="{BBCA61B4-ECBB-A945-B889-10B24DD72797}" dt="2021-06-10T06:39:15.513" v="222" actId="478"/>
          <ac:spMkLst>
            <pc:docMk/>
            <pc:sldMk cId="188968383" sldId="1932"/>
            <ac:spMk id="6" creationId="{A59D9853-3105-4D41-ADE1-C0D8BE19E859}"/>
          </ac:spMkLst>
        </pc:spChg>
        <pc:spChg chg="del">
          <ac:chgData name="Silviu Niculita" userId="c225ca43ec9c2f2d" providerId="LiveId" clId="{BBCA61B4-ECBB-A945-B889-10B24DD72797}" dt="2021-06-10T06:39:17.001" v="223" actId="478"/>
          <ac:spMkLst>
            <pc:docMk/>
            <pc:sldMk cId="188968383" sldId="1932"/>
            <ac:spMk id="8" creationId="{588D3D38-A0B7-499E-BE97-E8276C01D837}"/>
          </ac:spMkLst>
        </pc:spChg>
      </pc:sldChg>
      <pc:sldChg chg="delSp mod">
        <pc:chgData name="Silviu Niculita" userId="c225ca43ec9c2f2d" providerId="LiveId" clId="{BBCA61B4-ECBB-A945-B889-10B24DD72797}" dt="2021-06-10T06:16:33.047" v="85" actId="478"/>
        <pc:sldMkLst>
          <pc:docMk/>
          <pc:sldMk cId="1166516113" sldId="1933"/>
        </pc:sldMkLst>
        <pc:spChg chg="del">
          <ac:chgData name="Silviu Niculita" userId="c225ca43ec9c2f2d" providerId="LiveId" clId="{BBCA61B4-ECBB-A945-B889-10B24DD72797}" dt="2021-06-10T06:16:31.229" v="84" actId="478"/>
          <ac:spMkLst>
            <pc:docMk/>
            <pc:sldMk cId="1166516113" sldId="1933"/>
            <ac:spMk id="4" creationId="{9ECBF407-9EF2-4F1F-84C9-63F9EDB199C3}"/>
          </ac:spMkLst>
        </pc:spChg>
        <pc:spChg chg="del">
          <ac:chgData name="Silviu Niculita" userId="c225ca43ec9c2f2d" providerId="LiveId" clId="{BBCA61B4-ECBB-A945-B889-10B24DD72797}" dt="2021-06-10T06:16:33.047" v="85" actId="478"/>
          <ac:spMkLst>
            <pc:docMk/>
            <pc:sldMk cId="1166516113" sldId="1933"/>
            <ac:spMk id="12" creationId="{5920DE71-22BE-492B-B056-F783F98F7948}"/>
          </ac:spMkLst>
        </pc:spChg>
      </pc:sldChg>
      <pc:sldChg chg="delSp mod">
        <pc:chgData name="Silviu Niculita" userId="c225ca43ec9c2f2d" providerId="LiveId" clId="{BBCA61B4-ECBB-A945-B889-10B24DD72797}" dt="2021-06-10T06:49:37.237" v="266" actId="478"/>
        <pc:sldMkLst>
          <pc:docMk/>
          <pc:sldMk cId="2463619749" sldId="1934"/>
        </pc:sldMkLst>
        <pc:spChg chg="del">
          <ac:chgData name="Silviu Niculita" userId="c225ca43ec9c2f2d" providerId="LiveId" clId="{BBCA61B4-ECBB-A945-B889-10B24DD72797}" dt="2021-06-10T06:49:37.237" v="266" actId="478"/>
          <ac:spMkLst>
            <pc:docMk/>
            <pc:sldMk cId="2463619749" sldId="1934"/>
            <ac:spMk id="4" creationId="{D1BE5A39-7119-409A-A532-4DFFCD721749}"/>
          </ac:spMkLst>
        </pc:spChg>
        <pc:spChg chg="del">
          <ac:chgData name="Silviu Niculita" userId="c225ca43ec9c2f2d" providerId="LiveId" clId="{BBCA61B4-ECBB-A945-B889-10B24DD72797}" dt="2021-06-10T06:49:37.237" v="266" actId="478"/>
          <ac:spMkLst>
            <pc:docMk/>
            <pc:sldMk cId="2463619749" sldId="1934"/>
            <ac:spMk id="12" creationId="{FC176753-8B6D-4AC9-9541-FEA4D20D7C39}"/>
          </ac:spMkLst>
        </pc:spChg>
      </pc:sldChg>
      <pc:sldChg chg="delSp modSp mod">
        <pc:chgData name="Silviu Niculita" userId="c225ca43ec9c2f2d" providerId="LiveId" clId="{BBCA61B4-ECBB-A945-B889-10B24DD72797}" dt="2021-06-10T06:49:06.833" v="265" actId="20577"/>
        <pc:sldMkLst>
          <pc:docMk/>
          <pc:sldMk cId="3206847867" sldId="1935"/>
        </pc:sldMkLst>
        <pc:spChg chg="mod">
          <ac:chgData name="Silviu Niculita" userId="c225ca43ec9c2f2d" providerId="LiveId" clId="{BBCA61B4-ECBB-A945-B889-10B24DD72797}" dt="2021-06-10T06:49:06.833" v="265" actId="20577"/>
          <ac:spMkLst>
            <pc:docMk/>
            <pc:sldMk cId="3206847867" sldId="1935"/>
            <ac:spMk id="2" creationId="{0C2B488C-9D15-4879-B287-BA48204AB972}"/>
          </ac:spMkLst>
        </pc:spChg>
        <pc:spChg chg="del">
          <ac:chgData name="Silviu Niculita" userId="c225ca43ec9c2f2d" providerId="LiveId" clId="{BBCA61B4-ECBB-A945-B889-10B24DD72797}" dt="2021-06-10T06:42:06.957" v="255" actId="478"/>
          <ac:spMkLst>
            <pc:docMk/>
            <pc:sldMk cId="3206847867" sldId="1935"/>
            <ac:spMk id="4" creationId="{8E0212D4-E5D2-41B9-BF55-721FC59F7035}"/>
          </ac:spMkLst>
        </pc:spChg>
        <pc:spChg chg="del">
          <ac:chgData name="Silviu Niculita" userId="c225ca43ec9c2f2d" providerId="LiveId" clId="{BBCA61B4-ECBB-A945-B889-10B24DD72797}" dt="2021-06-10T06:42:06.957" v="255" actId="478"/>
          <ac:spMkLst>
            <pc:docMk/>
            <pc:sldMk cId="3206847867" sldId="1935"/>
            <ac:spMk id="16" creationId="{155517F8-B641-4808-896C-EED15B9583DE}"/>
          </ac:spMkLst>
        </pc:spChg>
        <pc:picChg chg="mod">
          <ac:chgData name="Silviu Niculita" userId="c225ca43ec9c2f2d" providerId="LiveId" clId="{BBCA61B4-ECBB-A945-B889-10B24DD72797}" dt="2021-06-10T06:42:17.503" v="261" actId="1076"/>
          <ac:picMkLst>
            <pc:docMk/>
            <pc:sldMk cId="3206847867" sldId="1935"/>
            <ac:picMk id="11" creationId="{6DE5CA4F-8182-4836-851D-C734F9DB7F3B}"/>
          </ac:picMkLst>
        </pc:picChg>
      </pc:sldChg>
      <pc:sldChg chg="delSp mod">
        <pc:chgData name="Silviu Niculita" userId="c225ca43ec9c2f2d" providerId="LiveId" clId="{BBCA61B4-ECBB-A945-B889-10B24DD72797}" dt="2021-06-10T06:49:43.784" v="267" actId="478"/>
        <pc:sldMkLst>
          <pc:docMk/>
          <pc:sldMk cId="680570315" sldId="1936"/>
        </pc:sldMkLst>
        <pc:spChg chg="del">
          <ac:chgData name="Silviu Niculita" userId="c225ca43ec9c2f2d" providerId="LiveId" clId="{BBCA61B4-ECBB-A945-B889-10B24DD72797}" dt="2021-06-10T06:49:43.784" v="267" actId="478"/>
          <ac:spMkLst>
            <pc:docMk/>
            <pc:sldMk cId="680570315" sldId="1936"/>
            <ac:spMk id="4" creationId="{D496A2E5-E08A-4AA4-803E-3381F7765522}"/>
          </ac:spMkLst>
        </pc:spChg>
        <pc:spChg chg="del">
          <ac:chgData name="Silviu Niculita" userId="c225ca43ec9c2f2d" providerId="LiveId" clId="{BBCA61B4-ECBB-A945-B889-10B24DD72797}" dt="2021-06-10T06:49:43.784" v="267" actId="478"/>
          <ac:spMkLst>
            <pc:docMk/>
            <pc:sldMk cId="680570315" sldId="1936"/>
            <ac:spMk id="12" creationId="{9C26B2FF-94DD-46A7-9121-A5561AE07434}"/>
          </ac:spMkLst>
        </pc:spChg>
      </pc:sldChg>
      <pc:sldChg chg="delSp modSp mod">
        <pc:chgData name="Silviu Niculita" userId="c225ca43ec9c2f2d" providerId="LiveId" clId="{BBCA61B4-ECBB-A945-B889-10B24DD72797}" dt="2021-06-10T09:13:59.938" v="851" actId="1076"/>
        <pc:sldMkLst>
          <pc:docMk/>
          <pc:sldMk cId="3213466786" sldId="1937"/>
        </pc:sldMkLst>
        <pc:spChg chg="mod">
          <ac:chgData name="Silviu Niculita" userId="c225ca43ec9c2f2d" providerId="LiveId" clId="{BBCA61B4-ECBB-A945-B889-10B24DD72797}" dt="2021-06-10T06:41:37.860" v="251" actId="20577"/>
          <ac:spMkLst>
            <pc:docMk/>
            <pc:sldMk cId="3213466786" sldId="1937"/>
            <ac:spMk id="2" creationId="{EBFE1BBD-9F47-49CD-AB64-3A559AA0A75A}"/>
          </ac:spMkLst>
        </pc:spChg>
        <pc:spChg chg="del">
          <ac:chgData name="Silviu Niculita" userId="c225ca43ec9c2f2d" providerId="LiveId" clId="{BBCA61B4-ECBB-A945-B889-10B24DD72797}" dt="2021-06-10T06:41:13.446" v="248" actId="478"/>
          <ac:spMkLst>
            <pc:docMk/>
            <pc:sldMk cId="3213466786" sldId="1937"/>
            <ac:spMk id="4" creationId="{0A1F96C1-AF7A-459C-99B3-0CDC9D02C860}"/>
          </ac:spMkLst>
        </pc:spChg>
        <pc:spChg chg="del">
          <ac:chgData name="Silviu Niculita" userId="c225ca43ec9c2f2d" providerId="LiveId" clId="{BBCA61B4-ECBB-A945-B889-10B24DD72797}" dt="2021-06-10T06:41:13.446" v="248" actId="478"/>
          <ac:spMkLst>
            <pc:docMk/>
            <pc:sldMk cId="3213466786" sldId="1937"/>
            <ac:spMk id="13" creationId="{F1BC9AA4-74A1-41B2-AEAE-D1E28721BC23}"/>
          </ac:spMkLst>
        </pc:spChg>
        <pc:picChg chg="mod">
          <ac:chgData name="Silviu Niculita" userId="c225ca43ec9c2f2d" providerId="LiveId" clId="{BBCA61B4-ECBB-A945-B889-10B24DD72797}" dt="2021-06-10T09:13:59.938" v="851" actId="1076"/>
          <ac:picMkLst>
            <pc:docMk/>
            <pc:sldMk cId="3213466786" sldId="1937"/>
            <ac:picMk id="8" creationId="{050C3688-74B0-4FA8-9BF1-13148886F382}"/>
          </ac:picMkLst>
        </pc:picChg>
      </pc:sldChg>
      <pc:sldChg chg="delSp modSp mod">
        <pc:chgData name="Silviu Niculita" userId="c225ca43ec9c2f2d" providerId="LiveId" clId="{BBCA61B4-ECBB-A945-B889-10B24DD72797}" dt="2021-06-10T09:14:04.760" v="852" actId="1076"/>
        <pc:sldMkLst>
          <pc:docMk/>
          <pc:sldMk cId="3597100356" sldId="1938"/>
        </pc:sldMkLst>
        <pc:spChg chg="mod">
          <ac:chgData name="Silviu Niculita" userId="c225ca43ec9c2f2d" providerId="LiveId" clId="{BBCA61B4-ECBB-A945-B889-10B24DD72797}" dt="2021-06-10T06:39:48.785" v="238" actId="20577"/>
          <ac:spMkLst>
            <pc:docMk/>
            <pc:sldMk cId="3597100356" sldId="1938"/>
            <ac:spMk id="2" creationId="{9AFBFBC4-DEFC-44A2-9D85-4B8B546A32FA}"/>
          </ac:spMkLst>
        </pc:spChg>
        <pc:spChg chg="del">
          <ac:chgData name="Silviu Niculita" userId="c225ca43ec9c2f2d" providerId="LiveId" clId="{BBCA61B4-ECBB-A945-B889-10B24DD72797}" dt="2021-06-10T06:39:26.964" v="225" actId="478"/>
          <ac:spMkLst>
            <pc:docMk/>
            <pc:sldMk cId="3597100356" sldId="1938"/>
            <ac:spMk id="4" creationId="{52F613A1-39D7-4CB9-B664-6C476463E482}"/>
          </ac:spMkLst>
        </pc:spChg>
        <pc:spChg chg="del">
          <ac:chgData name="Silviu Niculita" userId="c225ca43ec9c2f2d" providerId="LiveId" clId="{BBCA61B4-ECBB-A945-B889-10B24DD72797}" dt="2021-06-10T06:39:26.964" v="225" actId="478"/>
          <ac:spMkLst>
            <pc:docMk/>
            <pc:sldMk cId="3597100356" sldId="1938"/>
            <ac:spMk id="13" creationId="{9FA57304-9CB7-4FF6-8B49-F0AF5647BFAF}"/>
          </ac:spMkLst>
        </pc:spChg>
        <pc:picChg chg="mod">
          <ac:chgData name="Silviu Niculita" userId="c225ca43ec9c2f2d" providerId="LiveId" clId="{BBCA61B4-ECBB-A945-B889-10B24DD72797}" dt="2021-06-10T09:14:04.760" v="852" actId="1076"/>
          <ac:picMkLst>
            <pc:docMk/>
            <pc:sldMk cId="3597100356" sldId="1938"/>
            <ac:picMk id="8" creationId="{5ED94A5F-4F5B-4E39-9F2F-39E1B8CDA748}"/>
          </ac:picMkLst>
        </pc:picChg>
      </pc:sldChg>
      <pc:sldChg chg="delSp mod">
        <pc:chgData name="Silviu Niculita" userId="c225ca43ec9c2f2d" providerId="LiveId" clId="{BBCA61B4-ECBB-A945-B889-10B24DD72797}" dt="2021-06-10T06:39:22.474" v="224" actId="478"/>
        <pc:sldMkLst>
          <pc:docMk/>
          <pc:sldMk cId="2572929917" sldId="1939"/>
        </pc:sldMkLst>
        <pc:spChg chg="del">
          <ac:chgData name="Silviu Niculita" userId="c225ca43ec9c2f2d" providerId="LiveId" clId="{BBCA61B4-ECBB-A945-B889-10B24DD72797}" dt="2021-06-10T06:39:22.474" v="224" actId="478"/>
          <ac:spMkLst>
            <pc:docMk/>
            <pc:sldMk cId="2572929917" sldId="1939"/>
            <ac:spMk id="4" creationId="{4CA15632-8F7C-4201-9A5B-0141240B9D4B}"/>
          </ac:spMkLst>
        </pc:spChg>
        <pc:spChg chg="del">
          <ac:chgData name="Silviu Niculita" userId="c225ca43ec9c2f2d" providerId="LiveId" clId="{BBCA61B4-ECBB-A945-B889-10B24DD72797}" dt="2021-06-10T06:39:22.474" v="224" actId="478"/>
          <ac:spMkLst>
            <pc:docMk/>
            <pc:sldMk cId="2572929917" sldId="1939"/>
            <ac:spMk id="13" creationId="{7610F0F6-2592-4E36-B7C2-4425BC6E2A0B}"/>
          </ac:spMkLst>
        </pc:spChg>
      </pc:sldChg>
      <pc:sldChg chg="delSp modSp mod">
        <pc:chgData name="Silviu Niculita" userId="c225ca43ec9c2f2d" providerId="LiveId" clId="{BBCA61B4-ECBB-A945-B889-10B24DD72797}" dt="2021-06-10T06:38:52.891" v="219" actId="20577"/>
        <pc:sldMkLst>
          <pc:docMk/>
          <pc:sldMk cId="831831723" sldId="1940"/>
        </pc:sldMkLst>
        <pc:spChg chg="mod">
          <ac:chgData name="Silviu Niculita" userId="c225ca43ec9c2f2d" providerId="LiveId" clId="{BBCA61B4-ECBB-A945-B889-10B24DD72797}" dt="2021-06-10T06:38:52.891" v="219" actId="20577"/>
          <ac:spMkLst>
            <pc:docMk/>
            <pc:sldMk cId="831831723" sldId="1940"/>
            <ac:spMk id="2" creationId="{7D7F14E1-1E00-4485-94E1-32CBC42378F2}"/>
          </ac:spMkLst>
        </pc:spChg>
        <pc:spChg chg="del">
          <ac:chgData name="Silviu Niculita" userId="c225ca43ec9c2f2d" providerId="LiveId" clId="{BBCA61B4-ECBB-A945-B889-10B24DD72797}" dt="2021-06-10T06:38:47.653" v="216" actId="478"/>
          <ac:spMkLst>
            <pc:docMk/>
            <pc:sldMk cId="831831723" sldId="1940"/>
            <ac:spMk id="4" creationId="{FB2AF3AB-960D-4140-A17A-3EEF61E0D948}"/>
          </ac:spMkLst>
        </pc:spChg>
        <pc:spChg chg="del">
          <ac:chgData name="Silviu Niculita" userId="c225ca43ec9c2f2d" providerId="LiveId" clId="{BBCA61B4-ECBB-A945-B889-10B24DD72797}" dt="2021-06-10T06:38:47.653" v="216" actId="478"/>
          <ac:spMkLst>
            <pc:docMk/>
            <pc:sldMk cId="831831723" sldId="1940"/>
            <ac:spMk id="12" creationId="{4ACEBABF-8AB3-4D3C-B7DF-B68FA8F90373}"/>
          </ac:spMkLst>
        </pc:spChg>
        <pc:picChg chg="mod">
          <ac:chgData name="Silviu Niculita" userId="c225ca43ec9c2f2d" providerId="LiveId" clId="{BBCA61B4-ECBB-A945-B889-10B24DD72797}" dt="2021-06-10T06:38:49.764" v="217" actId="1076"/>
          <ac:picMkLst>
            <pc:docMk/>
            <pc:sldMk cId="831831723" sldId="1940"/>
            <ac:picMk id="7" creationId="{36DFA800-06B6-4D64-8F37-806D9E10D125}"/>
          </ac:picMkLst>
        </pc:picChg>
      </pc:sldChg>
      <pc:sldChg chg="delSp modSp mod">
        <pc:chgData name="Silviu Niculita" userId="c225ca43ec9c2f2d" providerId="LiveId" clId="{BBCA61B4-ECBB-A945-B889-10B24DD72797}" dt="2021-06-10T06:38:41.431" v="215" actId="1076"/>
        <pc:sldMkLst>
          <pc:docMk/>
          <pc:sldMk cId="51231809" sldId="1941"/>
        </pc:sldMkLst>
        <pc:spChg chg="del">
          <ac:chgData name="Silviu Niculita" userId="c225ca43ec9c2f2d" providerId="LiveId" clId="{BBCA61B4-ECBB-A945-B889-10B24DD72797}" dt="2021-06-10T06:38:34.030" v="213" actId="478"/>
          <ac:spMkLst>
            <pc:docMk/>
            <pc:sldMk cId="51231809" sldId="1941"/>
            <ac:spMk id="4" creationId="{A5924544-A42E-4DE0-A183-2EBB7F3144AA}"/>
          </ac:spMkLst>
        </pc:spChg>
        <pc:spChg chg="del">
          <ac:chgData name="Silviu Niculita" userId="c225ca43ec9c2f2d" providerId="LiveId" clId="{BBCA61B4-ECBB-A945-B889-10B24DD72797}" dt="2021-06-10T06:38:34.030" v="213" actId="478"/>
          <ac:spMkLst>
            <pc:docMk/>
            <pc:sldMk cId="51231809" sldId="1941"/>
            <ac:spMk id="12" creationId="{8C736DD2-668F-45F7-BBE1-96676DFA945A}"/>
          </ac:spMkLst>
        </pc:spChg>
        <pc:picChg chg="mod">
          <ac:chgData name="Silviu Niculita" userId="c225ca43ec9c2f2d" providerId="LiveId" clId="{BBCA61B4-ECBB-A945-B889-10B24DD72797}" dt="2021-06-10T06:38:41.431" v="215" actId="1076"/>
          <ac:picMkLst>
            <pc:docMk/>
            <pc:sldMk cId="51231809" sldId="1941"/>
            <ac:picMk id="7" creationId="{6D91A246-A1CA-41F2-AB0E-99274B2AB637}"/>
          </ac:picMkLst>
        </pc:picChg>
      </pc:sldChg>
      <pc:sldChg chg="delSp mod">
        <pc:chgData name="Silviu Niculita" userId="c225ca43ec9c2f2d" providerId="LiveId" clId="{BBCA61B4-ECBB-A945-B889-10B24DD72797}" dt="2021-06-10T06:38:30.531" v="212" actId="478"/>
        <pc:sldMkLst>
          <pc:docMk/>
          <pc:sldMk cId="304136768" sldId="1942"/>
        </pc:sldMkLst>
        <pc:spChg chg="del">
          <ac:chgData name="Silviu Niculita" userId="c225ca43ec9c2f2d" providerId="LiveId" clId="{BBCA61B4-ECBB-A945-B889-10B24DD72797}" dt="2021-06-10T06:38:30.531" v="212" actId="478"/>
          <ac:spMkLst>
            <pc:docMk/>
            <pc:sldMk cId="304136768" sldId="1942"/>
            <ac:spMk id="4" creationId="{1A4C87C0-44B8-40D2-8B50-26E3A4E4491D}"/>
          </ac:spMkLst>
        </pc:spChg>
        <pc:spChg chg="del">
          <ac:chgData name="Silviu Niculita" userId="c225ca43ec9c2f2d" providerId="LiveId" clId="{BBCA61B4-ECBB-A945-B889-10B24DD72797}" dt="2021-06-10T06:38:30.531" v="212" actId="478"/>
          <ac:spMkLst>
            <pc:docMk/>
            <pc:sldMk cId="304136768" sldId="1942"/>
            <ac:spMk id="12" creationId="{2D8E9DDE-B030-42CB-8BF7-24B6363C04F9}"/>
          </ac:spMkLst>
        </pc:spChg>
      </pc:sldChg>
      <pc:sldChg chg="delSp modSp mod">
        <pc:chgData name="Silviu Niculita" userId="c225ca43ec9c2f2d" providerId="LiveId" clId="{BBCA61B4-ECBB-A945-B889-10B24DD72797}" dt="2021-06-10T06:38:25.087" v="211" actId="1076"/>
        <pc:sldMkLst>
          <pc:docMk/>
          <pc:sldMk cId="743391044" sldId="1943"/>
        </pc:sldMkLst>
        <pc:spChg chg="del">
          <ac:chgData name="Silviu Niculita" userId="c225ca43ec9c2f2d" providerId="LiveId" clId="{BBCA61B4-ECBB-A945-B889-10B24DD72797}" dt="2021-06-10T06:38:19.990" v="210" actId="478"/>
          <ac:spMkLst>
            <pc:docMk/>
            <pc:sldMk cId="743391044" sldId="1943"/>
            <ac:spMk id="4" creationId="{FE43FB30-6927-4036-BAF4-4FF653AE10C7}"/>
          </ac:spMkLst>
        </pc:spChg>
        <pc:spChg chg="del">
          <ac:chgData name="Silviu Niculita" userId="c225ca43ec9c2f2d" providerId="LiveId" clId="{BBCA61B4-ECBB-A945-B889-10B24DD72797}" dt="2021-06-10T06:38:19.990" v="210" actId="478"/>
          <ac:spMkLst>
            <pc:docMk/>
            <pc:sldMk cId="743391044" sldId="1943"/>
            <ac:spMk id="12" creationId="{2B1E41DB-AEF3-4599-B11C-5C9B14C1BE34}"/>
          </ac:spMkLst>
        </pc:spChg>
        <pc:picChg chg="mod">
          <ac:chgData name="Silviu Niculita" userId="c225ca43ec9c2f2d" providerId="LiveId" clId="{BBCA61B4-ECBB-A945-B889-10B24DD72797}" dt="2021-06-10T06:38:25.087" v="211" actId="1076"/>
          <ac:picMkLst>
            <pc:docMk/>
            <pc:sldMk cId="743391044" sldId="1943"/>
            <ac:picMk id="7" creationId="{91941A0F-B4A2-451F-846B-0A91A82A9CDE}"/>
          </ac:picMkLst>
        </pc:picChg>
      </pc:sldChg>
      <pc:sldChg chg="delSp mod">
        <pc:chgData name="Silviu Niculita" userId="c225ca43ec9c2f2d" providerId="LiveId" clId="{BBCA61B4-ECBB-A945-B889-10B24DD72797}" dt="2021-06-10T09:12:54.537" v="850" actId="478"/>
        <pc:sldMkLst>
          <pc:docMk/>
          <pc:sldMk cId="2912152716" sldId="1944"/>
        </pc:sldMkLst>
        <pc:spChg chg="del">
          <ac:chgData name="Silviu Niculita" userId="c225ca43ec9c2f2d" providerId="LiveId" clId="{BBCA61B4-ECBB-A945-B889-10B24DD72797}" dt="2021-06-10T09:12:54.537" v="850" actId="478"/>
          <ac:spMkLst>
            <pc:docMk/>
            <pc:sldMk cId="2912152716" sldId="1944"/>
            <ac:spMk id="3" creationId="{5CA1AF59-E907-4E4D-B339-FA020FC29148}"/>
          </ac:spMkLst>
        </pc:spChg>
        <pc:spChg chg="del">
          <ac:chgData name="Silviu Niculita" userId="c225ca43ec9c2f2d" providerId="LiveId" clId="{BBCA61B4-ECBB-A945-B889-10B24DD72797}" dt="2021-06-10T06:38:15.394" v="209" actId="478"/>
          <ac:spMkLst>
            <pc:docMk/>
            <pc:sldMk cId="2912152716" sldId="1944"/>
            <ac:spMk id="4" creationId="{436B3D53-2F6A-4EC3-A740-BBD44482E19B}"/>
          </ac:spMkLst>
        </pc:spChg>
        <pc:spChg chg="del">
          <ac:chgData name="Silviu Niculita" userId="c225ca43ec9c2f2d" providerId="LiveId" clId="{BBCA61B4-ECBB-A945-B889-10B24DD72797}" dt="2021-06-10T06:38:15.394" v="209" actId="478"/>
          <ac:spMkLst>
            <pc:docMk/>
            <pc:sldMk cId="2912152716" sldId="1944"/>
            <ac:spMk id="5" creationId="{7810CB9D-07BF-4947-B145-1F58ED2BCA5E}"/>
          </ac:spMkLst>
        </pc:spChg>
        <pc:spChg chg="del">
          <ac:chgData name="Silviu Niculita" userId="c225ca43ec9c2f2d" providerId="LiveId" clId="{BBCA61B4-ECBB-A945-B889-10B24DD72797}" dt="2021-06-10T06:38:15.394" v="209" actId="478"/>
          <ac:spMkLst>
            <pc:docMk/>
            <pc:sldMk cId="2912152716" sldId="1944"/>
            <ac:spMk id="6" creationId="{952CE320-2DC0-492D-963B-B9EBCBF2B16B}"/>
          </ac:spMkLst>
        </pc:spChg>
      </pc:sldChg>
      <pc:sldChg chg="delSp mod">
        <pc:chgData name="Silviu Niculita" userId="c225ca43ec9c2f2d" providerId="LiveId" clId="{BBCA61B4-ECBB-A945-B889-10B24DD72797}" dt="2021-06-10T06:36:15.650" v="197" actId="478"/>
        <pc:sldMkLst>
          <pc:docMk/>
          <pc:sldMk cId="1566855811" sldId="1945"/>
        </pc:sldMkLst>
        <pc:spChg chg="del">
          <ac:chgData name="Silviu Niculita" userId="c225ca43ec9c2f2d" providerId="LiveId" clId="{BBCA61B4-ECBB-A945-B889-10B24DD72797}" dt="2021-06-10T06:36:15.650" v="197" actId="478"/>
          <ac:spMkLst>
            <pc:docMk/>
            <pc:sldMk cId="1566855811" sldId="1945"/>
            <ac:spMk id="4" creationId="{9D248959-0A9A-4998-AA6C-E247D9A02A24}"/>
          </ac:spMkLst>
        </pc:spChg>
        <pc:spChg chg="del">
          <ac:chgData name="Silviu Niculita" userId="c225ca43ec9c2f2d" providerId="LiveId" clId="{BBCA61B4-ECBB-A945-B889-10B24DD72797}" dt="2021-06-10T06:36:15.650" v="197" actId="478"/>
          <ac:spMkLst>
            <pc:docMk/>
            <pc:sldMk cId="1566855811" sldId="1945"/>
            <ac:spMk id="5" creationId="{12E89CCE-FA08-4312-B9BB-07071D9B10FA}"/>
          </ac:spMkLst>
        </pc:spChg>
        <pc:spChg chg="del">
          <ac:chgData name="Silviu Niculita" userId="c225ca43ec9c2f2d" providerId="LiveId" clId="{BBCA61B4-ECBB-A945-B889-10B24DD72797}" dt="2021-06-10T06:36:15.650" v="197" actId="478"/>
          <ac:spMkLst>
            <pc:docMk/>
            <pc:sldMk cId="1566855811" sldId="1945"/>
            <ac:spMk id="6" creationId="{F024C329-6E37-4DB8-A0C6-625D04A13F5A}"/>
          </ac:spMkLst>
        </pc:spChg>
        <pc:spChg chg="del">
          <ac:chgData name="Silviu Niculita" userId="c225ca43ec9c2f2d" providerId="LiveId" clId="{BBCA61B4-ECBB-A945-B889-10B24DD72797}" dt="2021-06-10T06:36:12.870" v="196" actId="478"/>
          <ac:spMkLst>
            <pc:docMk/>
            <pc:sldMk cId="1566855811" sldId="1945"/>
            <ac:spMk id="8" creationId="{8F5B2AB7-09E8-47A1-9B3D-7F49FDAB0181}"/>
          </ac:spMkLst>
        </pc:spChg>
      </pc:sldChg>
      <pc:sldChg chg="delSp modSp mod">
        <pc:chgData name="Silviu Niculita" userId="c225ca43ec9c2f2d" providerId="LiveId" clId="{BBCA61B4-ECBB-A945-B889-10B24DD72797}" dt="2021-06-10T06:34:48.025" v="181" actId="1076"/>
        <pc:sldMkLst>
          <pc:docMk/>
          <pc:sldMk cId="713155893" sldId="1946"/>
        </pc:sldMkLst>
        <pc:spChg chg="mod">
          <ac:chgData name="Silviu Niculita" userId="c225ca43ec9c2f2d" providerId="LiveId" clId="{BBCA61B4-ECBB-A945-B889-10B24DD72797}" dt="2021-06-10T06:34:42.724" v="180" actId="20577"/>
          <ac:spMkLst>
            <pc:docMk/>
            <pc:sldMk cId="713155893" sldId="1946"/>
            <ac:spMk id="2" creationId="{B78ED475-3533-4B93-827C-B1F354E5FB58}"/>
          </ac:spMkLst>
        </pc:spChg>
        <pc:spChg chg="del">
          <ac:chgData name="Silviu Niculita" userId="c225ca43ec9c2f2d" providerId="LiveId" clId="{BBCA61B4-ECBB-A945-B889-10B24DD72797}" dt="2021-06-10T06:34:37.534" v="179" actId="478"/>
          <ac:spMkLst>
            <pc:docMk/>
            <pc:sldMk cId="713155893" sldId="1946"/>
            <ac:spMk id="4" creationId="{E8D06F56-51A8-44E6-9F05-776E11BBC949}"/>
          </ac:spMkLst>
        </pc:spChg>
        <pc:spChg chg="del">
          <ac:chgData name="Silviu Niculita" userId="c225ca43ec9c2f2d" providerId="LiveId" clId="{BBCA61B4-ECBB-A945-B889-10B24DD72797}" dt="2021-06-10T06:34:37.534" v="179" actId="478"/>
          <ac:spMkLst>
            <pc:docMk/>
            <pc:sldMk cId="713155893" sldId="1946"/>
            <ac:spMk id="5" creationId="{0B250EA3-3D07-4CB7-BEA3-80E93FFBA99B}"/>
          </ac:spMkLst>
        </pc:spChg>
        <pc:spChg chg="del">
          <ac:chgData name="Silviu Niculita" userId="c225ca43ec9c2f2d" providerId="LiveId" clId="{BBCA61B4-ECBB-A945-B889-10B24DD72797}" dt="2021-06-10T06:34:37.534" v="179" actId="478"/>
          <ac:spMkLst>
            <pc:docMk/>
            <pc:sldMk cId="713155893" sldId="1946"/>
            <ac:spMk id="6" creationId="{6EDD27BE-FF09-49CB-A90A-C39969A36A45}"/>
          </ac:spMkLst>
        </pc:spChg>
        <pc:picChg chg="mod">
          <ac:chgData name="Silviu Niculita" userId="c225ca43ec9c2f2d" providerId="LiveId" clId="{BBCA61B4-ECBB-A945-B889-10B24DD72797}" dt="2021-06-10T06:34:48.025" v="181" actId="1076"/>
          <ac:picMkLst>
            <pc:docMk/>
            <pc:sldMk cId="713155893" sldId="1946"/>
            <ac:picMk id="7" creationId="{BC68E775-DA7F-40C0-BE7C-F8BF6927C507}"/>
          </ac:picMkLst>
        </pc:picChg>
      </pc:sldChg>
      <pc:sldChg chg="delSp mod">
        <pc:chgData name="Silviu Niculita" userId="c225ca43ec9c2f2d" providerId="LiveId" clId="{BBCA61B4-ECBB-A945-B889-10B24DD72797}" dt="2021-06-10T06:34:32.233" v="178" actId="478"/>
        <pc:sldMkLst>
          <pc:docMk/>
          <pc:sldMk cId="3262995426" sldId="1947"/>
        </pc:sldMkLst>
        <pc:spChg chg="del">
          <ac:chgData name="Silviu Niculita" userId="c225ca43ec9c2f2d" providerId="LiveId" clId="{BBCA61B4-ECBB-A945-B889-10B24DD72797}" dt="2021-06-10T06:34:29.860" v="177" actId="478"/>
          <ac:spMkLst>
            <pc:docMk/>
            <pc:sldMk cId="3262995426" sldId="1947"/>
            <ac:spMk id="4" creationId="{E65E9275-68B1-4F19-9A4D-6ABA0D942874}"/>
          </ac:spMkLst>
        </pc:spChg>
        <pc:spChg chg="del">
          <ac:chgData name="Silviu Niculita" userId="c225ca43ec9c2f2d" providerId="LiveId" clId="{BBCA61B4-ECBB-A945-B889-10B24DD72797}" dt="2021-06-10T06:34:29.860" v="177" actId="478"/>
          <ac:spMkLst>
            <pc:docMk/>
            <pc:sldMk cId="3262995426" sldId="1947"/>
            <ac:spMk id="5" creationId="{4C045047-1450-42FA-BB96-F1BE50ED5FFD}"/>
          </ac:spMkLst>
        </pc:spChg>
        <pc:spChg chg="del">
          <ac:chgData name="Silviu Niculita" userId="c225ca43ec9c2f2d" providerId="LiveId" clId="{BBCA61B4-ECBB-A945-B889-10B24DD72797}" dt="2021-06-10T06:34:29.860" v="177" actId="478"/>
          <ac:spMkLst>
            <pc:docMk/>
            <pc:sldMk cId="3262995426" sldId="1947"/>
            <ac:spMk id="6" creationId="{B83D11CB-2605-4311-BA04-00646808A739}"/>
          </ac:spMkLst>
        </pc:spChg>
        <pc:spChg chg="del">
          <ac:chgData name="Silviu Niculita" userId="c225ca43ec9c2f2d" providerId="LiveId" clId="{BBCA61B4-ECBB-A945-B889-10B24DD72797}" dt="2021-06-10T06:34:32.233" v="178" actId="478"/>
          <ac:spMkLst>
            <pc:docMk/>
            <pc:sldMk cId="3262995426" sldId="1947"/>
            <ac:spMk id="8" creationId="{A0606B58-CF5E-4C72-9A9E-2083D2615BF7}"/>
          </ac:spMkLst>
        </pc:spChg>
      </pc:sldChg>
      <pc:sldChg chg="delSp modSp mod">
        <pc:chgData name="Silviu Niculita" userId="c225ca43ec9c2f2d" providerId="LiveId" clId="{BBCA61B4-ECBB-A945-B889-10B24DD72797}" dt="2021-06-10T06:33:57.103" v="165" actId="478"/>
        <pc:sldMkLst>
          <pc:docMk/>
          <pc:sldMk cId="481219667" sldId="1948"/>
        </pc:sldMkLst>
        <pc:spChg chg="del">
          <ac:chgData name="Silviu Niculita" userId="c225ca43ec9c2f2d" providerId="LiveId" clId="{BBCA61B4-ECBB-A945-B889-10B24DD72797}" dt="2021-06-10T06:33:52.445" v="162" actId="478"/>
          <ac:spMkLst>
            <pc:docMk/>
            <pc:sldMk cId="481219667" sldId="1948"/>
            <ac:spMk id="4" creationId="{789531F4-2C11-4460-AAAE-1731575FD88B}"/>
          </ac:spMkLst>
        </pc:spChg>
        <pc:spChg chg="del mod">
          <ac:chgData name="Silviu Niculita" userId="c225ca43ec9c2f2d" providerId="LiveId" clId="{BBCA61B4-ECBB-A945-B889-10B24DD72797}" dt="2021-06-10T06:33:55.215" v="164" actId="478"/>
          <ac:spMkLst>
            <pc:docMk/>
            <pc:sldMk cId="481219667" sldId="1948"/>
            <ac:spMk id="5" creationId="{7CA7B360-399A-4456-A75E-BAF4DD766E10}"/>
          </ac:spMkLst>
        </pc:spChg>
        <pc:spChg chg="del">
          <ac:chgData name="Silviu Niculita" userId="c225ca43ec9c2f2d" providerId="LiveId" clId="{BBCA61B4-ECBB-A945-B889-10B24DD72797}" dt="2021-06-10T06:33:57.103" v="165" actId="478"/>
          <ac:spMkLst>
            <pc:docMk/>
            <pc:sldMk cId="481219667" sldId="1948"/>
            <ac:spMk id="6" creationId="{982FB861-3276-43D4-9D25-66DC508FFA96}"/>
          </ac:spMkLst>
        </pc:spChg>
      </pc:sldChg>
      <pc:sldChg chg="delSp mod">
        <pc:chgData name="Silviu Niculita" userId="c225ca43ec9c2f2d" providerId="LiveId" clId="{BBCA61B4-ECBB-A945-B889-10B24DD72797}" dt="2021-06-10T06:34:20.156" v="175" actId="478"/>
        <pc:sldMkLst>
          <pc:docMk/>
          <pc:sldMk cId="2600561889" sldId="1949"/>
        </pc:sldMkLst>
        <pc:spChg chg="del">
          <ac:chgData name="Silviu Niculita" userId="c225ca43ec9c2f2d" providerId="LiveId" clId="{BBCA61B4-ECBB-A945-B889-10B24DD72797}" dt="2021-06-10T06:34:18.844" v="174" actId="478"/>
          <ac:spMkLst>
            <pc:docMk/>
            <pc:sldMk cId="2600561889" sldId="1949"/>
            <ac:spMk id="4" creationId="{A3782D74-3123-4F68-87DE-43B691242414}"/>
          </ac:spMkLst>
        </pc:spChg>
        <pc:spChg chg="del">
          <ac:chgData name="Silviu Niculita" userId="c225ca43ec9c2f2d" providerId="LiveId" clId="{BBCA61B4-ECBB-A945-B889-10B24DD72797}" dt="2021-06-10T06:34:18.844" v="174" actId="478"/>
          <ac:spMkLst>
            <pc:docMk/>
            <pc:sldMk cId="2600561889" sldId="1949"/>
            <ac:spMk id="5" creationId="{07FD3789-7C4B-4848-8C74-22C56259A319}"/>
          </ac:spMkLst>
        </pc:spChg>
        <pc:spChg chg="del">
          <ac:chgData name="Silviu Niculita" userId="c225ca43ec9c2f2d" providerId="LiveId" clId="{BBCA61B4-ECBB-A945-B889-10B24DD72797}" dt="2021-06-10T06:34:20.156" v="175" actId="478"/>
          <ac:spMkLst>
            <pc:docMk/>
            <pc:sldMk cId="2600561889" sldId="1949"/>
            <ac:spMk id="6" creationId="{92551F7E-13F1-42AB-BBF8-2DF7EFC43D15}"/>
          </ac:spMkLst>
        </pc:spChg>
      </pc:sldChg>
      <pc:sldChg chg="delSp modSp mod">
        <pc:chgData name="Silviu Niculita" userId="c225ca43ec9c2f2d" providerId="LiveId" clId="{BBCA61B4-ECBB-A945-B889-10B24DD72797}" dt="2021-06-10T06:34:14.669" v="173" actId="478"/>
        <pc:sldMkLst>
          <pc:docMk/>
          <pc:sldMk cId="389855978" sldId="1950"/>
        </pc:sldMkLst>
        <pc:spChg chg="del mod">
          <ac:chgData name="Silviu Niculita" userId="c225ca43ec9c2f2d" providerId="LiveId" clId="{BBCA61B4-ECBB-A945-B889-10B24DD72797}" dt="2021-06-10T06:34:12.220" v="171" actId="478"/>
          <ac:spMkLst>
            <pc:docMk/>
            <pc:sldMk cId="389855978" sldId="1950"/>
            <ac:spMk id="4" creationId="{6222F822-DC31-41A8-81AD-91C28669EA8B}"/>
          </ac:spMkLst>
        </pc:spChg>
        <pc:spChg chg="del">
          <ac:chgData name="Silviu Niculita" userId="c225ca43ec9c2f2d" providerId="LiveId" clId="{BBCA61B4-ECBB-A945-B889-10B24DD72797}" dt="2021-06-10T06:34:10.110" v="170" actId="478"/>
          <ac:spMkLst>
            <pc:docMk/>
            <pc:sldMk cId="389855978" sldId="1950"/>
            <ac:spMk id="5" creationId="{362DF3C4-E207-4ADF-B8D2-423696191FDE}"/>
          </ac:spMkLst>
        </pc:spChg>
        <pc:spChg chg="del mod">
          <ac:chgData name="Silviu Niculita" userId="c225ca43ec9c2f2d" providerId="LiveId" clId="{BBCA61B4-ECBB-A945-B889-10B24DD72797}" dt="2021-06-10T06:34:14.669" v="173" actId="478"/>
          <ac:spMkLst>
            <pc:docMk/>
            <pc:sldMk cId="389855978" sldId="1950"/>
            <ac:spMk id="6" creationId="{B7FA07BF-0B1E-4302-9A8B-EE378D9B4CD3}"/>
          </ac:spMkLst>
        </pc:spChg>
      </pc:sldChg>
      <pc:sldChg chg="delSp mod">
        <pc:chgData name="Silviu Niculita" userId="c225ca43ec9c2f2d" providerId="LiveId" clId="{BBCA61B4-ECBB-A945-B889-10B24DD72797}" dt="2021-06-10T06:34:04.384" v="168" actId="478"/>
        <pc:sldMkLst>
          <pc:docMk/>
          <pc:sldMk cId="1552314003" sldId="1951"/>
        </pc:sldMkLst>
        <pc:spChg chg="del">
          <ac:chgData name="Silviu Niculita" userId="c225ca43ec9c2f2d" providerId="LiveId" clId="{BBCA61B4-ECBB-A945-B889-10B24DD72797}" dt="2021-06-10T06:34:01.684" v="166" actId="478"/>
          <ac:spMkLst>
            <pc:docMk/>
            <pc:sldMk cId="1552314003" sldId="1951"/>
            <ac:spMk id="4" creationId="{6222F822-DC31-41A8-81AD-91C28669EA8B}"/>
          </ac:spMkLst>
        </pc:spChg>
        <pc:spChg chg="del">
          <ac:chgData name="Silviu Niculita" userId="c225ca43ec9c2f2d" providerId="LiveId" clId="{BBCA61B4-ECBB-A945-B889-10B24DD72797}" dt="2021-06-10T06:34:02.597" v="167" actId="478"/>
          <ac:spMkLst>
            <pc:docMk/>
            <pc:sldMk cId="1552314003" sldId="1951"/>
            <ac:spMk id="5" creationId="{362DF3C4-E207-4ADF-B8D2-423696191FDE}"/>
          </ac:spMkLst>
        </pc:spChg>
        <pc:spChg chg="del">
          <ac:chgData name="Silviu Niculita" userId="c225ca43ec9c2f2d" providerId="LiveId" clId="{BBCA61B4-ECBB-A945-B889-10B24DD72797}" dt="2021-06-10T06:34:04.384" v="168" actId="478"/>
          <ac:spMkLst>
            <pc:docMk/>
            <pc:sldMk cId="1552314003" sldId="1951"/>
            <ac:spMk id="6" creationId="{B7FA07BF-0B1E-4302-9A8B-EE378D9B4CD3}"/>
          </ac:spMkLst>
        </pc:spChg>
      </pc:sldChg>
      <pc:sldChg chg="addSp delSp mod">
        <pc:chgData name="Silviu Niculita" userId="c225ca43ec9c2f2d" providerId="LiveId" clId="{BBCA61B4-ECBB-A945-B889-10B24DD72797}" dt="2021-06-10T06:33:10.566" v="148" actId="478"/>
        <pc:sldMkLst>
          <pc:docMk/>
          <pc:sldMk cId="4282489654" sldId="1952"/>
        </pc:sldMkLst>
        <pc:spChg chg="add del">
          <ac:chgData name="Silviu Niculita" userId="c225ca43ec9c2f2d" providerId="LiveId" clId="{BBCA61B4-ECBB-A945-B889-10B24DD72797}" dt="2021-06-10T06:33:07.518" v="147" actId="478"/>
          <ac:spMkLst>
            <pc:docMk/>
            <pc:sldMk cId="4282489654" sldId="1952"/>
            <ac:spMk id="4" creationId="{CF447AD4-27C2-43CD-AAB1-A684AAE432CF}"/>
          </ac:spMkLst>
        </pc:spChg>
        <pc:spChg chg="add del">
          <ac:chgData name="Silviu Niculita" userId="c225ca43ec9c2f2d" providerId="LiveId" clId="{BBCA61B4-ECBB-A945-B889-10B24DD72797}" dt="2021-06-10T06:33:05.432" v="146" actId="478"/>
          <ac:spMkLst>
            <pc:docMk/>
            <pc:sldMk cId="4282489654" sldId="1952"/>
            <ac:spMk id="5" creationId="{8488F80D-3ED4-4623-8F50-766155FE5C29}"/>
          </ac:spMkLst>
        </pc:spChg>
        <pc:spChg chg="add del">
          <ac:chgData name="Silviu Niculita" userId="c225ca43ec9c2f2d" providerId="LiveId" clId="{BBCA61B4-ECBB-A945-B889-10B24DD72797}" dt="2021-06-10T06:33:10.566" v="148" actId="478"/>
          <ac:spMkLst>
            <pc:docMk/>
            <pc:sldMk cId="4282489654" sldId="1952"/>
            <ac:spMk id="6" creationId="{59F807C9-172C-4E79-A66C-E1A725B6B57F}"/>
          </ac:spMkLst>
        </pc:spChg>
      </pc:sldChg>
      <pc:sldChg chg="addSp delSp modSp del mod modClrScheme chgLayout">
        <pc:chgData name="Silviu Niculita" userId="c225ca43ec9c2f2d" providerId="LiveId" clId="{BBCA61B4-ECBB-A945-B889-10B24DD72797}" dt="2021-06-10T06:32:52.751" v="141" actId="2696"/>
        <pc:sldMkLst>
          <pc:docMk/>
          <pc:sldMk cId="192712803" sldId="1953"/>
        </pc:sldMkLst>
        <pc:spChg chg="add del mod ord">
          <ac:chgData name="Silviu Niculita" userId="c225ca43ec9c2f2d" providerId="LiveId" clId="{BBCA61B4-ECBB-A945-B889-10B24DD72797}" dt="2021-06-10T06:32:18.195" v="114" actId="478"/>
          <ac:spMkLst>
            <pc:docMk/>
            <pc:sldMk cId="192712803" sldId="1953"/>
            <ac:spMk id="2" creationId="{8166A080-5E04-6844-B3F8-4DC44C7A0CBB}"/>
          </ac:spMkLst>
        </pc:spChg>
        <pc:spChg chg="mod ord">
          <ac:chgData name="Silviu Niculita" userId="c225ca43ec9c2f2d" providerId="LiveId" clId="{BBCA61B4-ECBB-A945-B889-10B24DD72797}" dt="2021-06-10T06:32:13.211" v="113" actId="700"/>
          <ac:spMkLst>
            <pc:docMk/>
            <pc:sldMk cId="192712803" sldId="1953"/>
            <ac:spMk id="3" creationId="{389C1F6F-588E-447A-8828-D46A9CD471F6}"/>
          </ac:spMkLst>
        </pc:spChg>
        <pc:spChg chg="del">
          <ac:chgData name="Silviu Niculita" userId="c225ca43ec9c2f2d" providerId="LiveId" clId="{BBCA61B4-ECBB-A945-B889-10B24DD72797}" dt="2021-06-10T06:17:23.159" v="86" actId="478"/>
          <ac:spMkLst>
            <pc:docMk/>
            <pc:sldMk cId="192712803" sldId="1953"/>
            <ac:spMk id="4" creationId="{19802E5C-F626-4ECA-A997-406E4C4DA8BF}"/>
          </ac:spMkLst>
        </pc:spChg>
        <pc:spChg chg="del">
          <ac:chgData name="Silviu Niculita" userId="c225ca43ec9c2f2d" providerId="LiveId" clId="{BBCA61B4-ECBB-A945-B889-10B24DD72797}" dt="2021-06-10T06:17:24.650" v="87" actId="478"/>
          <ac:spMkLst>
            <pc:docMk/>
            <pc:sldMk cId="192712803" sldId="1953"/>
            <ac:spMk id="5" creationId="{64C5A70C-A299-4150-9F69-28A189F6CB5D}"/>
          </ac:spMkLst>
        </pc:spChg>
        <pc:spChg chg="del">
          <ac:chgData name="Silviu Niculita" userId="c225ca43ec9c2f2d" providerId="LiveId" clId="{BBCA61B4-ECBB-A945-B889-10B24DD72797}" dt="2021-06-10T06:17:28.552" v="88" actId="478"/>
          <ac:spMkLst>
            <pc:docMk/>
            <pc:sldMk cId="192712803" sldId="1953"/>
            <ac:spMk id="6" creationId="{8CECBB60-7899-4D08-9FC4-28C8078BB53D}"/>
          </ac:spMkLst>
        </pc:spChg>
        <pc:spChg chg="add del mod ord">
          <ac:chgData name="Silviu Niculita" userId="c225ca43ec9c2f2d" providerId="LiveId" clId="{BBCA61B4-ECBB-A945-B889-10B24DD72797}" dt="2021-06-10T06:32:13.211" v="113" actId="700"/>
          <ac:spMkLst>
            <pc:docMk/>
            <pc:sldMk cId="192712803" sldId="1953"/>
            <ac:spMk id="7" creationId="{6DE78681-17EC-449E-B005-4C8040C9958F}"/>
          </ac:spMkLst>
        </pc:spChg>
        <pc:spChg chg="add del mod">
          <ac:chgData name="Silviu Niculita" userId="c225ca43ec9c2f2d" providerId="LiveId" clId="{BBCA61B4-ECBB-A945-B889-10B24DD72797}" dt="2021-06-10T06:32:09.587" v="110" actId="478"/>
          <ac:spMkLst>
            <pc:docMk/>
            <pc:sldMk cId="192712803" sldId="1953"/>
            <ac:spMk id="9" creationId="{3EC8A091-5269-0647-91E4-E99A2E8A1893}"/>
          </ac:spMkLst>
        </pc:spChg>
        <pc:picChg chg="del mod">
          <ac:chgData name="Silviu Niculita" userId="c225ca43ec9c2f2d" providerId="LiveId" clId="{BBCA61B4-ECBB-A945-B889-10B24DD72797}" dt="2021-06-10T06:32:39.368" v="134" actId="21"/>
          <ac:picMkLst>
            <pc:docMk/>
            <pc:sldMk cId="192712803" sldId="1953"/>
            <ac:picMk id="11" creationId="{1532B04C-8957-4313-AC6D-A34A3987359A}"/>
          </ac:picMkLst>
        </pc:picChg>
      </pc:sldChg>
      <pc:sldChg chg="delSp mod">
        <pc:chgData name="Silviu Niculita" userId="c225ca43ec9c2f2d" providerId="LiveId" clId="{BBCA61B4-ECBB-A945-B889-10B24DD72797}" dt="2021-06-10T06:41:03.233" v="247" actId="478"/>
        <pc:sldMkLst>
          <pc:docMk/>
          <pc:sldMk cId="463739332" sldId="1954"/>
        </pc:sldMkLst>
        <pc:spChg chg="del">
          <ac:chgData name="Silviu Niculita" userId="c225ca43ec9c2f2d" providerId="LiveId" clId="{BBCA61B4-ECBB-A945-B889-10B24DD72797}" dt="2021-06-10T06:41:03.233" v="247" actId="478"/>
          <ac:spMkLst>
            <pc:docMk/>
            <pc:sldMk cId="463739332" sldId="1954"/>
            <ac:spMk id="4" creationId="{0A1F96C1-AF7A-459C-99B3-0CDC9D02C860}"/>
          </ac:spMkLst>
        </pc:spChg>
        <pc:spChg chg="del">
          <ac:chgData name="Silviu Niculita" userId="c225ca43ec9c2f2d" providerId="LiveId" clId="{BBCA61B4-ECBB-A945-B889-10B24DD72797}" dt="2021-06-10T06:41:03.233" v="247" actId="478"/>
          <ac:spMkLst>
            <pc:docMk/>
            <pc:sldMk cId="463739332" sldId="1954"/>
            <ac:spMk id="13" creationId="{F1BC9AA4-74A1-41B2-AEAE-D1E28721BC23}"/>
          </ac:spMkLst>
        </pc:spChg>
      </pc:sldChg>
      <pc:sldChg chg="delSp modSp mod">
        <pc:chgData name="Silviu Niculita" userId="c225ca43ec9c2f2d" providerId="LiveId" clId="{BBCA61B4-ECBB-A945-B889-10B24DD72797}" dt="2021-06-10T06:40:39.735" v="245" actId="1076"/>
        <pc:sldMkLst>
          <pc:docMk/>
          <pc:sldMk cId="4113922888" sldId="1955"/>
        </pc:sldMkLst>
        <pc:spChg chg="del">
          <ac:chgData name="Silviu Niculita" userId="c225ca43ec9c2f2d" providerId="LiveId" clId="{BBCA61B4-ECBB-A945-B889-10B24DD72797}" dt="2021-06-10T06:40:13.331" v="239" actId="478"/>
          <ac:spMkLst>
            <pc:docMk/>
            <pc:sldMk cId="4113922888" sldId="1955"/>
            <ac:spMk id="4" creationId="{0A1F96C1-AF7A-459C-99B3-0CDC9D02C860}"/>
          </ac:spMkLst>
        </pc:spChg>
        <pc:spChg chg="del">
          <ac:chgData name="Silviu Niculita" userId="c225ca43ec9c2f2d" providerId="LiveId" clId="{BBCA61B4-ECBB-A945-B889-10B24DD72797}" dt="2021-06-10T06:40:35.546" v="244" actId="478"/>
          <ac:spMkLst>
            <pc:docMk/>
            <pc:sldMk cId="4113922888" sldId="1955"/>
            <ac:spMk id="5" creationId="{F4DB810B-99E6-4B63-8DD8-863B5856308B}"/>
          </ac:spMkLst>
        </pc:spChg>
        <pc:spChg chg="del">
          <ac:chgData name="Silviu Niculita" userId="c225ca43ec9c2f2d" providerId="LiveId" clId="{BBCA61B4-ECBB-A945-B889-10B24DD72797}" dt="2021-06-10T06:40:13.331" v="239" actId="478"/>
          <ac:spMkLst>
            <pc:docMk/>
            <pc:sldMk cId="4113922888" sldId="1955"/>
            <ac:spMk id="13" creationId="{F1BC9AA4-74A1-41B2-AEAE-D1E28721BC23}"/>
          </ac:spMkLst>
        </pc:spChg>
        <pc:picChg chg="mod">
          <ac:chgData name="Silviu Niculita" userId="c225ca43ec9c2f2d" providerId="LiveId" clId="{BBCA61B4-ECBB-A945-B889-10B24DD72797}" dt="2021-06-10T06:40:39.735" v="245" actId="1076"/>
          <ac:picMkLst>
            <pc:docMk/>
            <pc:sldMk cId="4113922888" sldId="1955"/>
            <ac:picMk id="8" creationId="{2E203266-CA1A-4226-A511-F1D567708BEA}"/>
          </ac:picMkLst>
        </pc:picChg>
      </pc:sldChg>
      <pc:sldChg chg="delSp mod">
        <pc:chgData name="Silviu Niculita" userId="c225ca43ec9c2f2d" providerId="LiveId" clId="{BBCA61B4-ECBB-A945-B889-10B24DD72797}" dt="2021-06-10T06:38:07.186" v="207" actId="478"/>
        <pc:sldMkLst>
          <pc:docMk/>
          <pc:sldMk cId="3516988696" sldId="1956"/>
        </pc:sldMkLst>
        <pc:spChg chg="del">
          <ac:chgData name="Silviu Niculita" userId="c225ca43ec9c2f2d" providerId="LiveId" clId="{BBCA61B4-ECBB-A945-B889-10B24DD72797}" dt="2021-06-10T06:38:07.186" v="207" actId="478"/>
          <ac:spMkLst>
            <pc:docMk/>
            <pc:sldMk cId="3516988696" sldId="1956"/>
            <ac:spMk id="4" creationId="{0357A89D-49E8-41C5-A576-36F757B98A32}"/>
          </ac:spMkLst>
        </pc:spChg>
        <pc:spChg chg="del">
          <ac:chgData name="Silviu Niculita" userId="c225ca43ec9c2f2d" providerId="LiveId" clId="{BBCA61B4-ECBB-A945-B889-10B24DD72797}" dt="2021-06-10T06:38:07.186" v="207" actId="478"/>
          <ac:spMkLst>
            <pc:docMk/>
            <pc:sldMk cId="3516988696" sldId="1956"/>
            <ac:spMk id="5" creationId="{C06395D6-E8C4-4B2A-B35B-2737354F41D5}"/>
          </ac:spMkLst>
        </pc:spChg>
      </pc:sldChg>
      <pc:sldChg chg="delSp modSp mod">
        <pc:chgData name="Silviu Niculita" userId="c225ca43ec9c2f2d" providerId="LiveId" clId="{BBCA61B4-ECBB-A945-B889-10B24DD72797}" dt="2021-06-10T06:37:35.730" v="206" actId="2062"/>
        <pc:sldMkLst>
          <pc:docMk/>
          <pc:sldMk cId="2849714597" sldId="1957"/>
        </pc:sldMkLst>
        <pc:spChg chg="del">
          <ac:chgData name="Silviu Niculita" userId="c225ca43ec9c2f2d" providerId="LiveId" clId="{BBCA61B4-ECBB-A945-B889-10B24DD72797}" dt="2021-06-10T06:36:21.852" v="198" actId="478"/>
          <ac:spMkLst>
            <pc:docMk/>
            <pc:sldMk cId="2849714597" sldId="1957"/>
            <ac:spMk id="4" creationId="{0357A89D-49E8-41C5-A576-36F757B98A32}"/>
          </ac:spMkLst>
        </pc:spChg>
        <pc:spChg chg="del">
          <ac:chgData name="Silviu Niculita" userId="c225ca43ec9c2f2d" providerId="LiveId" clId="{BBCA61B4-ECBB-A945-B889-10B24DD72797}" dt="2021-06-10T06:36:21.852" v="198" actId="478"/>
          <ac:spMkLst>
            <pc:docMk/>
            <pc:sldMk cId="2849714597" sldId="1957"/>
            <ac:spMk id="5" creationId="{C06395D6-E8C4-4B2A-B35B-2737354F41D5}"/>
          </ac:spMkLst>
        </pc:spChg>
        <pc:spChg chg="del">
          <ac:chgData name="Silviu Niculita" userId="c225ca43ec9c2f2d" providerId="LiveId" clId="{BBCA61B4-ECBB-A945-B889-10B24DD72797}" dt="2021-06-10T06:36:24.479" v="199" actId="478"/>
          <ac:spMkLst>
            <pc:docMk/>
            <pc:sldMk cId="2849714597" sldId="1957"/>
            <ac:spMk id="8" creationId="{C74C3DD3-674A-40CE-8267-51E917694B94}"/>
          </ac:spMkLst>
        </pc:spChg>
        <pc:graphicFrameChg chg="modGraphic">
          <ac:chgData name="Silviu Niculita" userId="c225ca43ec9c2f2d" providerId="LiveId" clId="{BBCA61B4-ECBB-A945-B889-10B24DD72797}" dt="2021-06-10T06:37:35.730" v="206" actId="2062"/>
          <ac:graphicFrameMkLst>
            <pc:docMk/>
            <pc:sldMk cId="2849714597" sldId="1957"/>
            <ac:graphicFrameMk id="9" creationId="{6F2193FA-D8F8-4ED4-BAA2-6C14D556F6D3}"/>
          </ac:graphicFrameMkLst>
        </pc:graphicFrameChg>
      </pc:sldChg>
      <pc:sldChg chg="addSp delSp modSp add mod ord">
        <pc:chgData name="Silviu Niculita" userId="c225ca43ec9c2f2d" providerId="LiveId" clId="{BBCA61B4-ECBB-A945-B889-10B24DD72797}" dt="2021-06-10T06:32:51.153" v="140" actId="478"/>
        <pc:sldMkLst>
          <pc:docMk/>
          <pc:sldMk cId="3666659702" sldId="1958"/>
        </pc:sldMkLst>
        <pc:spChg chg="mod">
          <ac:chgData name="Silviu Niculita" userId="c225ca43ec9c2f2d" providerId="LiveId" clId="{BBCA61B4-ECBB-A945-B889-10B24DD72797}" dt="2021-06-10T06:32:36.073" v="133" actId="20577"/>
          <ac:spMkLst>
            <pc:docMk/>
            <pc:sldMk cId="3666659702" sldId="1958"/>
            <ac:spMk id="2" creationId="{24F6D7A3-5DCB-4637-86CA-865FC015A7DE}"/>
          </ac:spMkLst>
        </pc:spChg>
        <pc:spChg chg="del">
          <ac:chgData name="Silviu Niculita" userId="c225ca43ec9c2f2d" providerId="LiveId" clId="{BBCA61B4-ECBB-A945-B889-10B24DD72797}" dt="2021-06-10T06:32:42.704" v="135" actId="478"/>
          <ac:spMkLst>
            <pc:docMk/>
            <pc:sldMk cId="3666659702" sldId="1958"/>
            <ac:spMk id="3" creationId="{605676BE-09B6-4581-97C4-4A40E9FB77E6}"/>
          </ac:spMkLst>
        </pc:spChg>
        <pc:spChg chg="del">
          <ac:chgData name="Silviu Niculita" userId="c225ca43ec9c2f2d" providerId="LiveId" clId="{BBCA61B4-ECBB-A945-B889-10B24DD72797}" dt="2021-06-10T06:32:47.951" v="138" actId="478"/>
          <ac:spMkLst>
            <pc:docMk/>
            <pc:sldMk cId="3666659702" sldId="1958"/>
            <ac:spMk id="4" creationId="{789531F4-2C11-4460-AAAE-1731575FD88B}"/>
          </ac:spMkLst>
        </pc:spChg>
        <pc:spChg chg="del">
          <ac:chgData name="Silviu Niculita" userId="c225ca43ec9c2f2d" providerId="LiveId" clId="{BBCA61B4-ECBB-A945-B889-10B24DD72797}" dt="2021-06-10T06:32:48.846" v="139" actId="478"/>
          <ac:spMkLst>
            <pc:docMk/>
            <pc:sldMk cId="3666659702" sldId="1958"/>
            <ac:spMk id="5" creationId="{7CA7B360-399A-4456-A75E-BAF4DD766E10}"/>
          </ac:spMkLst>
        </pc:spChg>
        <pc:spChg chg="del">
          <ac:chgData name="Silviu Niculita" userId="c225ca43ec9c2f2d" providerId="LiveId" clId="{BBCA61B4-ECBB-A945-B889-10B24DD72797}" dt="2021-06-10T06:32:51.153" v="140" actId="478"/>
          <ac:spMkLst>
            <pc:docMk/>
            <pc:sldMk cId="3666659702" sldId="1958"/>
            <ac:spMk id="6" creationId="{982FB861-3276-43D4-9D25-66DC508FFA96}"/>
          </ac:spMkLst>
        </pc:spChg>
        <pc:spChg chg="add del mod">
          <ac:chgData name="Silviu Niculita" userId="c225ca43ec9c2f2d" providerId="LiveId" clId="{BBCA61B4-ECBB-A945-B889-10B24DD72797}" dt="2021-06-10T06:32:46.034" v="137" actId="478"/>
          <ac:spMkLst>
            <pc:docMk/>
            <pc:sldMk cId="3666659702" sldId="1958"/>
            <ac:spMk id="8" creationId="{A8F10FCB-7F5A-C24D-843F-1195E0A0E209}"/>
          </ac:spMkLst>
        </pc:spChg>
        <pc:picChg chg="add mod">
          <ac:chgData name="Silviu Niculita" userId="c225ca43ec9c2f2d" providerId="LiveId" clId="{BBCA61B4-ECBB-A945-B889-10B24DD72797}" dt="2021-06-10T06:32:43.213" v="136"/>
          <ac:picMkLst>
            <pc:docMk/>
            <pc:sldMk cId="3666659702" sldId="1958"/>
            <ac:picMk id="9" creationId="{C8A61F81-D049-2941-943D-08DE1CCAC704}"/>
          </ac:picMkLst>
        </pc:picChg>
      </pc:sldChg>
      <pc:sldChg chg="addSp delSp modSp new mod">
        <pc:chgData name="Silviu Niculita" userId="c225ca43ec9c2f2d" providerId="LiveId" clId="{BBCA61B4-ECBB-A945-B889-10B24DD72797}" dt="2021-06-10T08:55:20.550" v="622" actId="5793"/>
        <pc:sldMkLst>
          <pc:docMk/>
          <pc:sldMk cId="2100156482" sldId="1959"/>
        </pc:sldMkLst>
        <pc:spChg chg="mod">
          <ac:chgData name="Silviu Niculita" userId="c225ca43ec9c2f2d" providerId="LiveId" clId="{BBCA61B4-ECBB-A945-B889-10B24DD72797}" dt="2021-06-10T08:49:39.771" v="425" actId="20577"/>
          <ac:spMkLst>
            <pc:docMk/>
            <pc:sldMk cId="2100156482" sldId="1959"/>
            <ac:spMk id="2" creationId="{FFDE8074-2AF7-DC43-9AA0-FC9AB8D0B93B}"/>
          </ac:spMkLst>
        </pc:spChg>
        <pc:spChg chg="mod">
          <ac:chgData name="Silviu Niculita" userId="c225ca43ec9c2f2d" providerId="LiveId" clId="{BBCA61B4-ECBB-A945-B889-10B24DD72797}" dt="2021-06-10T08:55:20.550" v="622" actId="5793"/>
          <ac:spMkLst>
            <pc:docMk/>
            <pc:sldMk cId="2100156482" sldId="1959"/>
            <ac:spMk id="3" creationId="{E72C2FF8-8A2B-AB4C-BBE4-F62604E66CA5}"/>
          </ac:spMkLst>
        </pc:spChg>
        <pc:spChg chg="del">
          <ac:chgData name="Silviu Niculita" userId="c225ca43ec9c2f2d" providerId="LiveId" clId="{BBCA61B4-ECBB-A945-B889-10B24DD72797}" dt="2021-06-10T08:52:03.415" v="443" actId="478"/>
          <ac:spMkLst>
            <pc:docMk/>
            <pc:sldMk cId="2100156482" sldId="1959"/>
            <ac:spMk id="4" creationId="{E76F74DD-342F-244D-A22F-27E0179699EC}"/>
          </ac:spMkLst>
        </pc:spChg>
        <pc:spChg chg="del">
          <ac:chgData name="Silviu Niculita" userId="c225ca43ec9c2f2d" providerId="LiveId" clId="{BBCA61B4-ECBB-A945-B889-10B24DD72797}" dt="2021-06-10T08:52:04.581" v="444" actId="478"/>
          <ac:spMkLst>
            <pc:docMk/>
            <pc:sldMk cId="2100156482" sldId="1959"/>
            <ac:spMk id="5" creationId="{A1628D7B-F9D5-D64A-83D3-B545EFA74CD7}"/>
          </ac:spMkLst>
        </pc:spChg>
        <pc:picChg chg="add mod">
          <ac:chgData name="Silviu Niculita" userId="c225ca43ec9c2f2d" providerId="LiveId" clId="{BBCA61B4-ECBB-A945-B889-10B24DD72797}" dt="2021-06-10T08:54:49.474" v="613" actId="1035"/>
          <ac:picMkLst>
            <pc:docMk/>
            <pc:sldMk cId="2100156482" sldId="1959"/>
            <ac:picMk id="6" creationId="{0C544DA1-1D60-2346-9B70-389F9E71973C}"/>
          </ac:picMkLst>
        </pc:picChg>
        <pc:picChg chg="add mod">
          <ac:chgData name="Silviu Niculita" userId="c225ca43ec9c2f2d" providerId="LiveId" clId="{BBCA61B4-ECBB-A945-B889-10B24DD72797}" dt="2021-06-10T08:54:49.474" v="613" actId="1035"/>
          <ac:picMkLst>
            <pc:docMk/>
            <pc:sldMk cId="2100156482" sldId="1959"/>
            <ac:picMk id="7" creationId="{12BA2726-4325-B249-852A-F5DA7D5A1BF9}"/>
          </ac:picMkLst>
        </pc:picChg>
        <pc:picChg chg="add mod">
          <ac:chgData name="Silviu Niculita" userId="c225ca43ec9c2f2d" providerId="LiveId" clId="{BBCA61B4-ECBB-A945-B889-10B24DD72797}" dt="2021-06-10T08:54:56.108" v="614" actId="1076"/>
          <ac:picMkLst>
            <pc:docMk/>
            <pc:sldMk cId="2100156482" sldId="1959"/>
            <ac:picMk id="8" creationId="{79B825AF-3EC2-AD41-B607-789EA2710071}"/>
          </ac:picMkLst>
        </pc:picChg>
        <pc:picChg chg="add mod">
          <ac:chgData name="Silviu Niculita" userId="c225ca43ec9c2f2d" providerId="LiveId" clId="{BBCA61B4-ECBB-A945-B889-10B24DD72797}" dt="2021-06-10T08:54:49.474" v="613" actId="1035"/>
          <ac:picMkLst>
            <pc:docMk/>
            <pc:sldMk cId="2100156482" sldId="1959"/>
            <ac:picMk id="9" creationId="{34C5AF81-3788-E541-B1ED-93611F947088}"/>
          </ac:picMkLst>
        </pc:picChg>
        <pc:picChg chg="add mod">
          <ac:chgData name="Silviu Niculita" userId="c225ca43ec9c2f2d" providerId="LiveId" clId="{BBCA61B4-ECBB-A945-B889-10B24DD72797}" dt="2021-06-10T08:54:49.474" v="613" actId="1035"/>
          <ac:picMkLst>
            <pc:docMk/>
            <pc:sldMk cId="2100156482" sldId="1959"/>
            <ac:picMk id="10" creationId="{9FF22591-41A2-D549-9C27-BDCCE98CF240}"/>
          </ac:picMkLst>
        </pc:picChg>
        <pc:picChg chg="add mod">
          <ac:chgData name="Silviu Niculita" userId="c225ca43ec9c2f2d" providerId="LiveId" clId="{BBCA61B4-ECBB-A945-B889-10B24DD72797}" dt="2021-06-10T08:54:49.474" v="613" actId="1035"/>
          <ac:picMkLst>
            <pc:docMk/>
            <pc:sldMk cId="2100156482" sldId="1959"/>
            <ac:picMk id="11" creationId="{AC5EB2E0-3B21-EF45-B87B-623882E9A811}"/>
          </ac:picMkLst>
        </pc:picChg>
        <pc:picChg chg="add mod">
          <ac:chgData name="Silviu Niculita" userId="c225ca43ec9c2f2d" providerId="LiveId" clId="{BBCA61B4-ECBB-A945-B889-10B24DD72797}" dt="2021-06-10T08:54:58.643" v="615" actId="1076"/>
          <ac:picMkLst>
            <pc:docMk/>
            <pc:sldMk cId="2100156482" sldId="1959"/>
            <ac:picMk id="12" creationId="{AFA5EFEA-83C3-CE45-B4D3-C0F561382934}"/>
          </ac:picMkLst>
        </pc:picChg>
        <pc:picChg chg="add mod">
          <ac:chgData name="Silviu Niculita" userId="c225ca43ec9c2f2d" providerId="LiveId" clId="{BBCA61B4-ECBB-A945-B889-10B24DD72797}" dt="2021-06-10T08:54:49.474" v="613" actId="1035"/>
          <ac:picMkLst>
            <pc:docMk/>
            <pc:sldMk cId="2100156482" sldId="1959"/>
            <ac:picMk id="13" creationId="{C9839D47-B33E-764B-8C69-89D67D25488F}"/>
          </ac:picMkLst>
        </pc:picChg>
      </pc:sldChg>
      <pc:sldChg chg="modSp add mod">
        <pc:chgData name="Silviu Niculita" userId="c225ca43ec9c2f2d" providerId="LiveId" clId="{BBCA61B4-ECBB-A945-B889-10B24DD72797}" dt="2021-06-10T08:58:31.759" v="653" actId="20577"/>
        <pc:sldMkLst>
          <pc:docMk/>
          <pc:sldMk cId="1047787633" sldId="1960"/>
        </pc:sldMkLst>
        <pc:spChg chg="mod">
          <ac:chgData name="Silviu Niculita" userId="c225ca43ec9c2f2d" providerId="LiveId" clId="{BBCA61B4-ECBB-A945-B889-10B24DD72797}" dt="2021-06-10T08:58:31.759" v="653" actId="20577"/>
          <ac:spMkLst>
            <pc:docMk/>
            <pc:sldMk cId="1047787633" sldId="1960"/>
            <ac:spMk id="2" creationId="{8AC06049-7C05-4A20-AD0F-49BE57051291}"/>
          </ac:spMkLst>
        </pc:spChg>
      </pc:sldChg>
      <pc:sldChg chg="addSp delSp modSp new mod chgLayout">
        <pc:chgData name="Silviu Niculita" userId="c225ca43ec9c2f2d" providerId="LiveId" clId="{BBCA61B4-ECBB-A945-B889-10B24DD72797}" dt="2021-06-10T09:01:30.569" v="696" actId="700"/>
        <pc:sldMkLst>
          <pc:docMk/>
          <pc:sldMk cId="3087935730" sldId="1961"/>
        </pc:sldMkLst>
        <pc:spChg chg="mod ord">
          <ac:chgData name="Silviu Niculita" userId="c225ca43ec9c2f2d" providerId="LiveId" clId="{BBCA61B4-ECBB-A945-B889-10B24DD72797}" dt="2021-06-10T09:01:30.569" v="696" actId="700"/>
          <ac:spMkLst>
            <pc:docMk/>
            <pc:sldMk cId="3087935730" sldId="1961"/>
            <ac:spMk id="2" creationId="{35D586C1-5C94-294D-A80B-95CB673D195E}"/>
          </ac:spMkLst>
        </pc:spChg>
        <pc:spChg chg="del mod">
          <ac:chgData name="Silviu Niculita" userId="c225ca43ec9c2f2d" providerId="LiveId" clId="{BBCA61B4-ECBB-A945-B889-10B24DD72797}" dt="2021-06-10T09:00:31.404" v="658" actId="478"/>
          <ac:spMkLst>
            <pc:docMk/>
            <pc:sldMk cId="3087935730" sldId="1961"/>
            <ac:spMk id="3" creationId="{BEA232AC-BFE4-9D4E-B960-CC300765BEAD}"/>
          </ac:spMkLst>
        </pc:spChg>
        <pc:spChg chg="del">
          <ac:chgData name="Silviu Niculita" userId="c225ca43ec9c2f2d" providerId="LiveId" clId="{BBCA61B4-ECBB-A945-B889-10B24DD72797}" dt="2021-06-10T08:58:48.472" v="655" actId="478"/>
          <ac:spMkLst>
            <pc:docMk/>
            <pc:sldMk cId="3087935730" sldId="1961"/>
            <ac:spMk id="4" creationId="{0FD59AD4-86CB-7C48-8605-98741313EDFF}"/>
          </ac:spMkLst>
        </pc:spChg>
        <pc:spChg chg="del">
          <ac:chgData name="Silviu Niculita" userId="c225ca43ec9c2f2d" providerId="LiveId" clId="{BBCA61B4-ECBB-A945-B889-10B24DD72797}" dt="2021-06-10T08:58:51.260" v="656" actId="478"/>
          <ac:spMkLst>
            <pc:docMk/>
            <pc:sldMk cId="3087935730" sldId="1961"/>
            <ac:spMk id="5" creationId="{9B48F0E0-7680-AA44-971D-F1321D981A2D}"/>
          </ac:spMkLst>
        </pc:spChg>
        <pc:spChg chg="add del mod">
          <ac:chgData name="Silviu Niculita" userId="c225ca43ec9c2f2d" providerId="LiveId" clId="{BBCA61B4-ECBB-A945-B889-10B24DD72797}" dt="2021-06-10T09:00:35.154" v="659" actId="478"/>
          <ac:spMkLst>
            <pc:docMk/>
            <pc:sldMk cId="3087935730" sldId="1961"/>
            <ac:spMk id="7" creationId="{35BBB0FF-FEBA-854E-8911-1132201F8DA5}"/>
          </ac:spMkLst>
        </pc:spChg>
        <pc:spChg chg="add mod ord">
          <ac:chgData name="Silviu Niculita" userId="c225ca43ec9c2f2d" providerId="LiveId" clId="{BBCA61B4-ECBB-A945-B889-10B24DD72797}" dt="2021-06-10T09:01:30.569" v="696" actId="700"/>
          <ac:spMkLst>
            <pc:docMk/>
            <pc:sldMk cId="3087935730" sldId="1961"/>
            <ac:spMk id="10" creationId="{DBE9F947-9A0A-5E46-9721-2A3A30070AEA}"/>
          </ac:spMkLst>
        </pc:spChg>
        <pc:picChg chg="add mod modCrop">
          <ac:chgData name="Silviu Niculita" userId="c225ca43ec9c2f2d" providerId="LiveId" clId="{BBCA61B4-ECBB-A945-B889-10B24DD72797}" dt="2021-06-10T09:01:01.516" v="663" actId="1076"/>
          <ac:picMkLst>
            <pc:docMk/>
            <pc:sldMk cId="3087935730" sldId="1961"/>
            <ac:picMk id="9" creationId="{0BB87C6A-F010-A743-A167-C4A59EE6DD8D}"/>
          </ac:picMkLst>
        </pc:picChg>
      </pc:sldChg>
      <pc:sldChg chg="addSp delSp modSp new mod">
        <pc:chgData name="Silviu Niculita" userId="c225ca43ec9c2f2d" providerId="LiveId" clId="{BBCA61B4-ECBB-A945-B889-10B24DD72797}" dt="2021-06-10T09:09:48.690" v="843" actId="732"/>
        <pc:sldMkLst>
          <pc:docMk/>
          <pc:sldMk cId="3143777508" sldId="1962"/>
        </pc:sldMkLst>
        <pc:spChg chg="mod">
          <ac:chgData name="Silviu Niculita" userId="c225ca43ec9c2f2d" providerId="LiveId" clId="{BBCA61B4-ECBB-A945-B889-10B24DD72797}" dt="2021-06-10T09:03:32.207" v="733" actId="20577"/>
          <ac:spMkLst>
            <pc:docMk/>
            <pc:sldMk cId="3143777508" sldId="1962"/>
            <ac:spMk id="2" creationId="{937DABD2-E2A7-364C-ABF7-F320E1F51116}"/>
          </ac:spMkLst>
        </pc:spChg>
        <pc:spChg chg="del">
          <ac:chgData name="Silviu Niculita" userId="c225ca43ec9c2f2d" providerId="LiveId" clId="{BBCA61B4-ECBB-A945-B889-10B24DD72797}" dt="2021-06-10T09:02:05.626" v="698"/>
          <ac:spMkLst>
            <pc:docMk/>
            <pc:sldMk cId="3143777508" sldId="1962"/>
            <ac:spMk id="3" creationId="{6BD597D9-E600-3C43-B2FA-CF15F9BCA26F}"/>
          </ac:spMkLst>
        </pc:spChg>
        <pc:spChg chg="del">
          <ac:chgData name="Silviu Niculita" userId="c225ca43ec9c2f2d" providerId="LiveId" clId="{BBCA61B4-ECBB-A945-B889-10B24DD72797}" dt="2021-06-10T09:02:30.964" v="717" actId="478"/>
          <ac:spMkLst>
            <pc:docMk/>
            <pc:sldMk cId="3143777508" sldId="1962"/>
            <ac:spMk id="4" creationId="{86976348-1D3A-F74C-B70A-C9EC40D7146E}"/>
          </ac:spMkLst>
        </pc:spChg>
        <pc:spChg chg="del">
          <ac:chgData name="Silviu Niculita" userId="c225ca43ec9c2f2d" providerId="LiveId" clId="{BBCA61B4-ECBB-A945-B889-10B24DD72797}" dt="2021-06-10T09:02:36.827" v="720" actId="478"/>
          <ac:spMkLst>
            <pc:docMk/>
            <pc:sldMk cId="3143777508" sldId="1962"/>
            <ac:spMk id="5" creationId="{C19362DB-91BF-0342-943E-33026B8EFB5F}"/>
          </ac:spMkLst>
        </pc:spChg>
        <pc:spChg chg="add del mod">
          <ac:chgData name="Silviu Niculita" userId="c225ca43ec9c2f2d" providerId="LiveId" clId="{BBCA61B4-ECBB-A945-B889-10B24DD72797}" dt="2021-06-10T09:02:34.159" v="719" actId="478"/>
          <ac:spMkLst>
            <pc:docMk/>
            <pc:sldMk cId="3143777508" sldId="1962"/>
            <ac:spMk id="9" creationId="{C03EF3F7-69CA-4C4D-A7EB-55EFB55E3D73}"/>
          </ac:spMkLst>
        </pc:spChg>
        <pc:picChg chg="add del mod modCrop">
          <ac:chgData name="Silviu Niculita" userId="c225ca43ec9c2f2d" providerId="LiveId" clId="{BBCA61B4-ECBB-A945-B889-10B24DD72797}" dt="2021-06-10T09:09:48.690" v="843" actId="732"/>
          <ac:picMkLst>
            <pc:docMk/>
            <pc:sldMk cId="3143777508" sldId="1962"/>
            <ac:picMk id="7" creationId="{ABF22D69-532E-6347-AED1-E2A8A17498D3}"/>
          </ac:picMkLst>
        </pc:picChg>
      </pc:sldChg>
      <pc:sldChg chg="addSp delSp modSp new mod">
        <pc:chgData name="Silviu Niculita" userId="c225ca43ec9c2f2d" providerId="LiveId" clId="{BBCA61B4-ECBB-A945-B889-10B24DD72797}" dt="2021-06-10T09:04:59.129" v="769" actId="1076"/>
        <pc:sldMkLst>
          <pc:docMk/>
          <pc:sldMk cId="2750324340" sldId="1963"/>
        </pc:sldMkLst>
        <pc:spChg chg="mod">
          <ac:chgData name="Silviu Niculita" userId="c225ca43ec9c2f2d" providerId="LiveId" clId="{BBCA61B4-ECBB-A945-B889-10B24DD72797}" dt="2021-06-10T09:04:17.330" v="757" actId="20577"/>
          <ac:spMkLst>
            <pc:docMk/>
            <pc:sldMk cId="2750324340" sldId="1963"/>
            <ac:spMk id="2" creationId="{4D85AD61-F903-0D4E-8654-4C8710819131}"/>
          </ac:spMkLst>
        </pc:spChg>
        <pc:spChg chg="del">
          <ac:chgData name="Silviu Niculita" userId="c225ca43ec9c2f2d" providerId="LiveId" clId="{BBCA61B4-ECBB-A945-B889-10B24DD72797}" dt="2021-06-10T09:04:25.118" v="758" actId="478"/>
          <ac:spMkLst>
            <pc:docMk/>
            <pc:sldMk cId="2750324340" sldId="1963"/>
            <ac:spMk id="3" creationId="{96DA284D-540F-5644-89C4-648A6B9B5F0B}"/>
          </ac:spMkLst>
        </pc:spChg>
        <pc:spChg chg="del">
          <ac:chgData name="Silviu Niculita" userId="c225ca43ec9c2f2d" providerId="LiveId" clId="{BBCA61B4-ECBB-A945-B889-10B24DD72797}" dt="2021-06-10T09:04:45.410" v="766" actId="478"/>
          <ac:spMkLst>
            <pc:docMk/>
            <pc:sldMk cId="2750324340" sldId="1963"/>
            <ac:spMk id="4" creationId="{5803CF68-FB2C-DA4D-BB97-A0CCE2FB42CD}"/>
          </ac:spMkLst>
        </pc:spChg>
        <pc:spChg chg="del">
          <ac:chgData name="Silviu Niculita" userId="c225ca43ec9c2f2d" providerId="LiveId" clId="{BBCA61B4-ECBB-A945-B889-10B24DD72797}" dt="2021-06-10T09:04:48.181" v="767" actId="478"/>
          <ac:spMkLst>
            <pc:docMk/>
            <pc:sldMk cId="2750324340" sldId="1963"/>
            <ac:spMk id="5" creationId="{4822761F-618B-8949-8346-FD81FF107E98}"/>
          </ac:spMkLst>
        </pc:spChg>
        <pc:picChg chg="add mod">
          <ac:chgData name="Silviu Niculita" userId="c225ca43ec9c2f2d" providerId="LiveId" clId="{BBCA61B4-ECBB-A945-B889-10B24DD72797}" dt="2021-06-10T09:04:59.129" v="769" actId="1076"/>
          <ac:picMkLst>
            <pc:docMk/>
            <pc:sldMk cId="2750324340" sldId="1963"/>
            <ac:picMk id="7" creationId="{5161C7D3-65C1-294C-B3F0-7370331033B1}"/>
          </ac:picMkLst>
        </pc:picChg>
      </pc:sldChg>
      <pc:sldChg chg="addSp delSp modSp new mod">
        <pc:chgData name="Silviu Niculita" userId="c225ca43ec9c2f2d" providerId="LiveId" clId="{BBCA61B4-ECBB-A945-B889-10B24DD72797}" dt="2021-06-10T09:08:55.230" v="842" actId="20577"/>
        <pc:sldMkLst>
          <pc:docMk/>
          <pc:sldMk cId="2332254044" sldId="1964"/>
        </pc:sldMkLst>
        <pc:spChg chg="mod">
          <ac:chgData name="Silviu Niculita" userId="c225ca43ec9c2f2d" providerId="LiveId" clId="{BBCA61B4-ECBB-A945-B889-10B24DD72797}" dt="2021-06-10T09:08:55.230" v="842" actId="20577"/>
          <ac:spMkLst>
            <pc:docMk/>
            <pc:sldMk cId="2332254044" sldId="1964"/>
            <ac:spMk id="2" creationId="{4CCEFA20-D3F0-D645-A3B1-4260CC8A1063}"/>
          </ac:spMkLst>
        </pc:spChg>
        <pc:spChg chg="del">
          <ac:chgData name="Silviu Niculita" userId="c225ca43ec9c2f2d" providerId="LiveId" clId="{BBCA61B4-ECBB-A945-B889-10B24DD72797}" dt="2021-06-10T09:08:04.345" v="771" actId="478"/>
          <ac:spMkLst>
            <pc:docMk/>
            <pc:sldMk cId="2332254044" sldId="1964"/>
            <ac:spMk id="3" creationId="{76974ACF-C21C-354C-85D7-1B9E5817B8ED}"/>
          </ac:spMkLst>
        </pc:spChg>
        <pc:spChg chg="del">
          <ac:chgData name="Silviu Niculita" userId="c225ca43ec9c2f2d" providerId="LiveId" clId="{BBCA61B4-ECBB-A945-B889-10B24DD72797}" dt="2021-06-10T09:08:24.349" v="779" actId="478"/>
          <ac:spMkLst>
            <pc:docMk/>
            <pc:sldMk cId="2332254044" sldId="1964"/>
            <ac:spMk id="4" creationId="{5669BC41-BF84-6F4E-A09A-16A2D26EAC5F}"/>
          </ac:spMkLst>
        </pc:spChg>
        <pc:spChg chg="del">
          <ac:chgData name="Silviu Niculita" userId="c225ca43ec9c2f2d" providerId="LiveId" clId="{BBCA61B4-ECBB-A945-B889-10B24DD72797}" dt="2021-06-10T09:08:21.473" v="778" actId="478"/>
          <ac:spMkLst>
            <pc:docMk/>
            <pc:sldMk cId="2332254044" sldId="1964"/>
            <ac:spMk id="5" creationId="{8FE70CEC-8B7C-A546-A452-9DBFDD604C7C}"/>
          </ac:spMkLst>
        </pc:spChg>
        <pc:picChg chg="add mod">
          <ac:chgData name="Silviu Niculita" userId="c225ca43ec9c2f2d" providerId="LiveId" clId="{BBCA61B4-ECBB-A945-B889-10B24DD72797}" dt="2021-06-10T09:08:41.183" v="784" actId="1076"/>
          <ac:picMkLst>
            <pc:docMk/>
            <pc:sldMk cId="2332254044" sldId="1964"/>
            <ac:picMk id="6" creationId="{78832D69-FD88-9E48-86E9-23E89D356312}"/>
          </ac:picMkLst>
        </pc:picChg>
      </pc:sldChg>
      <pc:sldMasterChg chg="delSp mod delSldLayout modSldLayout">
        <pc:chgData name="Silviu Niculita" userId="c225ca43ec9c2f2d" providerId="LiveId" clId="{BBCA61B4-ECBB-A945-B889-10B24DD72797}" dt="2021-06-10T06:32:52.751" v="141" actId="2696"/>
        <pc:sldMasterMkLst>
          <pc:docMk/>
          <pc:sldMasterMk cId="674065678" sldId="2147483713"/>
        </pc:sldMasterMkLst>
        <pc:spChg chg="del">
          <ac:chgData name="Silviu Niculita" userId="c225ca43ec9c2f2d" providerId="LiveId" clId="{BBCA61B4-ECBB-A945-B889-10B24DD72797}" dt="2021-06-10T06:15:31.651" v="70" actId="478"/>
          <ac:spMkLst>
            <pc:docMk/>
            <pc:sldMasterMk cId="674065678" sldId="2147483713"/>
            <ac:spMk id="4" creationId="{00000000-0000-0000-0000-000000000000}"/>
          </ac:spMkLst>
        </pc:spChg>
        <pc:spChg chg="del">
          <ac:chgData name="Silviu Niculita" userId="c225ca43ec9c2f2d" providerId="LiveId" clId="{BBCA61B4-ECBB-A945-B889-10B24DD72797}" dt="2021-06-10T06:15:33.003" v="71" actId="478"/>
          <ac:spMkLst>
            <pc:docMk/>
            <pc:sldMasterMk cId="674065678" sldId="2147483713"/>
            <ac:spMk id="5" creationId="{00000000-0000-0000-0000-000000000000}"/>
          </ac:spMkLst>
        </pc:spChg>
        <pc:spChg chg="del">
          <ac:chgData name="Silviu Niculita" userId="c225ca43ec9c2f2d" providerId="LiveId" clId="{BBCA61B4-ECBB-A945-B889-10B24DD72797}" dt="2021-06-10T06:15:34.775" v="72" actId="478"/>
          <ac:spMkLst>
            <pc:docMk/>
            <pc:sldMasterMk cId="674065678" sldId="2147483713"/>
            <ac:spMk id="6" creationId="{00000000-0000-0000-0000-000000000000}"/>
          </ac:spMkLst>
        </pc:spChg>
        <pc:sldLayoutChg chg="delSp modSp mod">
          <pc:chgData name="Silviu Niculita" userId="c225ca43ec9c2f2d" providerId="LiveId" clId="{BBCA61B4-ECBB-A945-B889-10B24DD72797}" dt="2021-06-10T06:15:23.740" v="69" actId="478"/>
          <pc:sldLayoutMkLst>
            <pc:docMk/>
            <pc:sldMasterMk cId="674065678" sldId="2147483713"/>
            <pc:sldLayoutMk cId="1168796184" sldId="2147483719"/>
          </pc:sldLayoutMkLst>
          <pc:spChg chg="mod">
            <ac:chgData name="Silviu Niculita" userId="c225ca43ec9c2f2d" providerId="LiveId" clId="{BBCA61B4-ECBB-A945-B889-10B24DD72797}" dt="2021-06-10T06:15:20.909" v="67" actId="1076"/>
            <ac:spMkLst>
              <pc:docMk/>
              <pc:sldMasterMk cId="674065678" sldId="2147483713"/>
              <pc:sldLayoutMk cId="1168796184" sldId="2147483719"/>
              <ac:spMk id="2" creationId="{00000000-0000-0000-0000-000000000000}"/>
            </ac:spMkLst>
          </pc:spChg>
          <pc:spChg chg="del">
            <ac:chgData name="Silviu Niculita" userId="c225ca43ec9c2f2d" providerId="LiveId" clId="{BBCA61B4-ECBB-A945-B889-10B24DD72797}" dt="2021-06-10T06:15:15.729" v="66" actId="478"/>
            <ac:spMkLst>
              <pc:docMk/>
              <pc:sldMasterMk cId="674065678" sldId="2147483713"/>
              <pc:sldLayoutMk cId="1168796184" sldId="2147483719"/>
              <ac:spMk id="3" creationId="{00000000-0000-0000-0000-000000000000}"/>
            </ac:spMkLst>
          </pc:spChg>
          <pc:spChg chg="del">
            <ac:chgData name="Silviu Niculita" userId="c225ca43ec9c2f2d" providerId="LiveId" clId="{BBCA61B4-ECBB-A945-B889-10B24DD72797}" dt="2021-06-10T06:15:13.543" v="65" actId="478"/>
            <ac:spMkLst>
              <pc:docMk/>
              <pc:sldMasterMk cId="674065678" sldId="2147483713"/>
              <pc:sldLayoutMk cId="1168796184" sldId="2147483719"/>
              <ac:spMk id="4" creationId="{00000000-0000-0000-0000-000000000000}"/>
            </ac:spMkLst>
          </pc:spChg>
          <pc:spChg chg="del">
            <ac:chgData name="Silviu Niculita" userId="c225ca43ec9c2f2d" providerId="LiveId" clId="{BBCA61B4-ECBB-A945-B889-10B24DD72797}" dt="2021-06-10T06:15:23.740" v="69" actId="478"/>
            <ac:spMkLst>
              <pc:docMk/>
              <pc:sldMasterMk cId="674065678" sldId="2147483713"/>
              <pc:sldLayoutMk cId="1168796184" sldId="2147483719"/>
              <ac:spMk id="5" creationId="{00000000-0000-0000-0000-000000000000}"/>
            </ac:spMkLst>
          </pc:spChg>
          <pc:spChg chg="del">
            <ac:chgData name="Silviu Niculita" userId="c225ca43ec9c2f2d" providerId="LiveId" clId="{BBCA61B4-ECBB-A945-B889-10B24DD72797}" dt="2021-06-10T06:15:22.948" v="68" actId="478"/>
            <ac:spMkLst>
              <pc:docMk/>
              <pc:sldMasterMk cId="674065678" sldId="2147483713"/>
              <pc:sldLayoutMk cId="1168796184" sldId="2147483719"/>
              <ac:spMk id="6" creationId="{00000000-0000-0000-0000-000000000000}"/>
            </ac:spMkLst>
          </pc:spChg>
        </pc:sldLayoutChg>
        <pc:sldLayoutChg chg="del">
          <pc:chgData name="Silviu Niculita" userId="c225ca43ec9c2f2d" providerId="LiveId" clId="{BBCA61B4-ECBB-A945-B889-10B24DD72797}" dt="2021-06-10T06:32:52.751" v="141" actId="2696"/>
          <pc:sldLayoutMkLst>
            <pc:docMk/>
            <pc:sldMasterMk cId="674065678" sldId="2147483713"/>
            <pc:sldLayoutMk cId="1130575962" sldId="2147483748"/>
          </pc:sldLayoutMkLst>
        </pc:sldLayoutChg>
      </pc:sldMasterChg>
    </pc:docChg>
  </pc:docChgLst>
  <pc:docChgLst>
    <pc:chgData name="Silviu Niculita" userId="c225ca43ec9c2f2d" providerId="LiveId" clId="{02FEB1D1-2545-4145-A3B7-0FA2AB43EC0D}"/>
    <pc:docChg chg="undo custSel addSld delSld modSld sldOrd modSection">
      <pc:chgData name="Silviu Niculita" userId="c225ca43ec9c2f2d" providerId="LiveId" clId="{02FEB1D1-2545-4145-A3B7-0FA2AB43EC0D}" dt="2021-06-10T14:58:27.392" v="273"/>
      <pc:docMkLst>
        <pc:docMk/>
      </pc:docMkLst>
      <pc:sldChg chg="addSp modSp mod">
        <pc:chgData name="Silviu Niculita" userId="c225ca43ec9c2f2d" providerId="LiveId" clId="{02FEB1D1-2545-4145-A3B7-0FA2AB43EC0D}" dt="2021-06-10T14:57:03.710" v="272"/>
        <pc:sldMkLst>
          <pc:docMk/>
          <pc:sldMk cId="494491768" sldId="256"/>
        </pc:sldMkLst>
        <pc:spChg chg="mod">
          <ac:chgData name="Silviu Niculita" userId="c225ca43ec9c2f2d" providerId="LiveId" clId="{02FEB1D1-2545-4145-A3B7-0FA2AB43EC0D}" dt="2021-06-10T09:18:10.266" v="29" actId="14100"/>
          <ac:spMkLst>
            <pc:docMk/>
            <pc:sldMk cId="494491768" sldId="256"/>
            <ac:spMk id="2" creationId="{390908EC-571D-413C-93D2-867C7B5B3329}"/>
          </ac:spMkLst>
        </pc:spChg>
        <pc:spChg chg="add mod">
          <ac:chgData name="Silviu Niculita" userId="c225ca43ec9c2f2d" providerId="LiveId" clId="{02FEB1D1-2545-4145-A3B7-0FA2AB43EC0D}" dt="2021-06-10T09:18:45.437" v="52" actId="403"/>
          <ac:spMkLst>
            <pc:docMk/>
            <pc:sldMk cId="494491768" sldId="256"/>
            <ac:spMk id="4" creationId="{C91989C2-F1BE-2F47-89A2-04E900C6E686}"/>
          </ac:spMkLst>
        </pc:spChg>
        <pc:picChg chg="add mod">
          <ac:chgData name="Silviu Niculita" userId="c225ca43ec9c2f2d" providerId="LiveId" clId="{02FEB1D1-2545-4145-A3B7-0FA2AB43EC0D}" dt="2021-06-10T14:57:03.710" v="272"/>
          <ac:picMkLst>
            <pc:docMk/>
            <pc:sldMk cId="494491768" sldId="256"/>
            <ac:picMk id="5" creationId="{B84602EF-FA0A-E74D-A5AE-5B6E6A421D91}"/>
          </ac:picMkLst>
        </pc:picChg>
      </pc:sldChg>
      <pc:sldChg chg="modSp mod">
        <pc:chgData name="Silviu Niculita" userId="c225ca43ec9c2f2d" providerId="LiveId" clId="{02FEB1D1-2545-4145-A3B7-0FA2AB43EC0D}" dt="2021-06-10T09:19:02.677" v="62" actId="20577"/>
        <pc:sldMkLst>
          <pc:docMk/>
          <pc:sldMk cId="3775532558" sldId="257"/>
        </pc:sldMkLst>
        <pc:spChg chg="mod">
          <ac:chgData name="Silviu Niculita" userId="c225ca43ec9c2f2d" providerId="LiveId" clId="{02FEB1D1-2545-4145-A3B7-0FA2AB43EC0D}" dt="2021-06-10T09:19:02.677" v="62" actId="20577"/>
          <ac:spMkLst>
            <pc:docMk/>
            <pc:sldMk cId="3775532558" sldId="257"/>
            <ac:spMk id="2" creationId="{6F91184C-9249-450B-B4A9-21EAA77FA0A4}"/>
          </ac:spMkLst>
        </pc:spChg>
      </pc:sldChg>
      <pc:sldChg chg="modSp mod">
        <pc:chgData name="Silviu Niculita" userId="c225ca43ec9c2f2d" providerId="LiveId" clId="{02FEB1D1-2545-4145-A3B7-0FA2AB43EC0D}" dt="2021-06-10T11:33:14.490" v="244" actId="20577"/>
        <pc:sldMkLst>
          <pc:docMk/>
          <pc:sldMk cId="3277229386" sldId="260"/>
        </pc:sldMkLst>
        <pc:spChg chg="mod">
          <ac:chgData name="Silviu Niculita" userId="c225ca43ec9c2f2d" providerId="LiveId" clId="{02FEB1D1-2545-4145-A3B7-0FA2AB43EC0D}" dt="2021-06-10T11:33:14.490" v="244" actId="20577"/>
          <ac:spMkLst>
            <pc:docMk/>
            <pc:sldMk cId="3277229386" sldId="260"/>
            <ac:spMk id="2" creationId="{8CEC6DF4-6ACF-48A1-88A5-4524ECEC51FB}"/>
          </ac:spMkLst>
        </pc:spChg>
      </pc:sldChg>
      <pc:sldChg chg="del mod modShow">
        <pc:chgData name="Silviu Niculita" userId="c225ca43ec9c2f2d" providerId="LiveId" clId="{02FEB1D1-2545-4145-A3B7-0FA2AB43EC0D}" dt="2021-06-10T11:38:30.396" v="270" actId="2696"/>
        <pc:sldMkLst>
          <pc:docMk/>
          <pc:sldMk cId="1143027790" sldId="268"/>
        </pc:sldMkLst>
      </pc:sldChg>
      <pc:sldChg chg="modSp mod">
        <pc:chgData name="Silviu Niculita" userId="c225ca43ec9c2f2d" providerId="LiveId" clId="{02FEB1D1-2545-4145-A3B7-0FA2AB43EC0D}" dt="2021-06-10T10:20:21.509" v="92" actId="20577"/>
        <pc:sldMkLst>
          <pc:docMk/>
          <pc:sldMk cId="2491171254" sldId="272"/>
        </pc:sldMkLst>
        <pc:spChg chg="mod">
          <ac:chgData name="Silviu Niculita" userId="c225ca43ec9c2f2d" providerId="LiveId" clId="{02FEB1D1-2545-4145-A3B7-0FA2AB43EC0D}" dt="2021-06-10T10:20:21.509" v="92" actId="20577"/>
          <ac:spMkLst>
            <pc:docMk/>
            <pc:sldMk cId="2491171254" sldId="272"/>
            <ac:spMk id="2" creationId="{A2E1ECAA-18E7-4F92-B283-1CED3D436555}"/>
          </ac:spMkLst>
        </pc:spChg>
      </pc:sldChg>
      <pc:sldChg chg="modSp mod">
        <pc:chgData name="Silviu Niculita" userId="c225ca43ec9c2f2d" providerId="LiveId" clId="{02FEB1D1-2545-4145-A3B7-0FA2AB43EC0D}" dt="2021-06-10T10:51:10.755" v="155" actId="20577"/>
        <pc:sldMkLst>
          <pc:docMk/>
          <pc:sldMk cId="837023559" sldId="273"/>
        </pc:sldMkLst>
        <pc:spChg chg="mod">
          <ac:chgData name="Silviu Niculita" userId="c225ca43ec9c2f2d" providerId="LiveId" clId="{02FEB1D1-2545-4145-A3B7-0FA2AB43EC0D}" dt="2021-06-10T10:51:10.755" v="155" actId="20577"/>
          <ac:spMkLst>
            <pc:docMk/>
            <pc:sldMk cId="837023559" sldId="273"/>
            <ac:spMk id="2" creationId="{A2E1ECAA-18E7-4F92-B283-1CED3D436555}"/>
          </ac:spMkLst>
        </pc:spChg>
      </pc:sldChg>
      <pc:sldChg chg="modSp mod">
        <pc:chgData name="Silviu Niculita" userId="c225ca43ec9c2f2d" providerId="LiveId" clId="{02FEB1D1-2545-4145-A3B7-0FA2AB43EC0D}" dt="2021-06-10T11:34:52.166" v="259" actId="255"/>
        <pc:sldMkLst>
          <pc:docMk/>
          <pc:sldMk cId="3104214956" sldId="279"/>
        </pc:sldMkLst>
        <pc:spChg chg="mod">
          <ac:chgData name="Silviu Niculita" userId="c225ca43ec9c2f2d" providerId="LiveId" clId="{02FEB1D1-2545-4145-A3B7-0FA2AB43EC0D}" dt="2021-06-10T11:34:52.166" v="259" actId="255"/>
          <ac:spMkLst>
            <pc:docMk/>
            <pc:sldMk cId="3104214956" sldId="279"/>
            <ac:spMk id="3" creationId="{36F5B732-AB5F-4EEA-B148-F0B2E42B4C8B}"/>
          </ac:spMkLst>
        </pc:spChg>
      </pc:sldChg>
      <pc:sldChg chg="modSp mod">
        <pc:chgData name="Silviu Niculita" userId="c225ca43ec9c2f2d" providerId="LiveId" clId="{02FEB1D1-2545-4145-A3B7-0FA2AB43EC0D}" dt="2021-06-10T11:34:44.899" v="258" actId="255"/>
        <pc:sldMkLst>
          <pc:docMk/>
          <pc:sldMk cId="2373377191" sldId="280"/>
        </pc:sldMkLst>
        <pc:spChg chg="mod">
          <ac:chgData name="Silviu Niculita" userId="c225ca43ec9c2f2d" providerId="LiveId" clId="{02FEB1D1-2545-4145-A3B7-0FA2AB43EC0D}" dt="2021-06-10T11:34:44.899" v="258" actId="255"/>
          <ac:spMkLst>
            <pc:docMk/>
            <pc:sldMk cId="2373377191" sldId="280"/>
            <ac:spMk id="3" creationId="{36F5B732-AB5F-4EEA-B148-F0B2E42B4C8B}"/>
          </ac:spMkLst>
        </pc:spChg>
      </pc:sldChg>
      <pc:sldChg chg="modSp del mod modShow">
        <pc:chgData name="Silviu Niculita" userId="c225ca43ec9c2f2d" providerId="LiveId" clId="{02FEB1D1-2545-4145-A3B7-0FA2AB43EC0D}" dt="2021-06-10T11:35:02.214" v="260" actId="2696"/>
        <pc:sldMkLst>
          <pc:docMk/>
          <pc:sldMk cId="1009135703" sldId="281"/>
        </pc:sldMkLst>
        <pc:picChg chg="mod">
          <ac:chgData name="Silviu Niculita" userId="c225ca43ec9c2f2d" providerId="LiveId" clId="{02FEB1D1-2545-4145-A3B7-0FA2AB43EC0D}" dt="2021-06-10T09:16:54.076" v="18" actId="1076"/>
          <ac:picMkLst>
            <pc:docMk/>
            <pc:sldMk cId="1009135703" sldId="281"/>
            <ac:picMk id="7" creationId="{056136EC-45B4-4ED5-AF8B-06FA1AC198B2}"/>
          </ac:picMkLst>
        </pc:picChg>
      </pc:sldChg>
      <pc:sldChg chg="modSp mod">
        <pc:chgData name="Silviu Niculita" userId="c225ca43ec9c2f2d" providerId="LiveId" clId="{02FEB1D1-2545-4145-A3B7-0FA2AB43EC0D}" dt="2021-06-10T11:32:29.458" v="237" actId="20577"/>
        <pc:sldMkLst>
          <pc:docMk/>
          <pc:sldMk cId="976277967" sldId="282"/>
        </pc:sldMkLst>
        <pc:spChg chg="mod">
          <ac:chgData name="Silviu Niculita" userId="c225ca43ec9c2f2d" providerId="LiveId" clId="{02FEB1D1-2545-4145-A3B7-0FA2AB43EC0D}" dt="2021-06-10T11:32:29.458" v="237" actId="20577"/>
          <ac:spMkLst>
            <pc:docMk/>
            <pc:sldMk cId="976277967" sldId="282"/>
            <ac:spMk id="2" creationId="{24F6D7A3-5DCB-4637-86CA-865FC015A7DE}"/>
          </ac:spMkLst>
        </pc:spChg>
        <pc:spChg chg="mod">
          <ac:chgData name="Silviu Niculita" userId="c225ca43ec9c2f2d" providerId="LiveId" clId="{02FEB1D1-2545-4145-A3B7-0FA2AB43EC0D}" dt="2021-06-10T10:59:34.678" v="222" actId="403"/>
          <ac:spMkLst>
            <pc:docMk/>
            <pc:sldMk cId="976277967" sldId="282"/>
            <ac:spMk id="3" creationId="{605676BE-09B6-4581-97C4-4A40E9FB77E6}"/>
          </ac:spMkLst>
        </pc:spChg>
      </pc:sldChg>
      <pc:sldChg chg="modSp mod">
        <pc:chgData name="Silviu Niculita" userId="c225ca43ec9c2f2d" providerId="LiveId" clId="{02FEB1D1-2545-4145-A3B7-0FA2AB43EC0D}" dt="2021-06-10T11:32:36.579" v="240" actId="20577"/>
        <pc:sldMkLst>
          <pc:docMk/>
          <pc:sldMk cId="1038780102" sldId="283"/>
        </pc:sldMkLst>
        <pc:spChg chg="mod">
          <ac:chgData name="Silviu Niculita" userId="c225ca43ec9c2f2d" providerId="LiveId" clId="{02FEB1D1-2545-4145-A3B7-0FA2AB43EC0D}" dt="2021-06-10T11:32:36.579" v="240" actId="20577"/>
          <ac:spMkLst>
            <pc:docMk/>
            <pc:sldMk cId="1038780102" sldId="283"/>
            <ac:spMk id="2" creationId="{24F6D7A3-5DCB-4637-86CA-865FC015A7DE}"/>
          </ac:spMkLst>
        </pc:spChg>
        <pc:spChg chg="mod">
          <ac:chgData name="Silviu Niculita" userId="c225ca43ec9c2f2d" providerId="LiveId" clId="{02FEB1D1-2545-4145-A3B7-0FA2AB43EC0D}" dt="2021-06-10T10:58:51.330" v="216" actId="403"/>
          <ac:spMkLst>
            <pc:docMk/>
            <pc:sldMk cId="1038780102" sldId="283"/>
            <ac:spMk id="3" creationId="{605676BE-09B6-4581-97C4-4A40E9FB77E6}"/>
          </ac:spMkLst>
        </pc:spChg>
      </pc:sldChg>
      <pc:sldChg chg="modSp mod">
        <pc:chgData name="Silviu Niculita" userId="c225ca43ec9c2f2d" providerId="LiveId" clId="{02FEB1D1-2545-4145-A3B7-0FA2AB43EC0D}" dt="2021-06-10T10:58:34.128" v="213" actId="14"/>
        <pc:sldMkLst>
          <pc:docMk/>
          <pc:sldMk cId="930944531" sldId="284"/>
        </pc:sldMkLst>
        <pc:spChg chg="mod">
          <ac:chgData name="Silviu Niculita" userId="c225ca43ec9c2f2d" providerId="LiveId" clId="{02FEB1D1-2545-4145-A3B7-0FA2AB43EC0D}" dt="2021-06-10T10:58:34.128" v="213" actId="14"/>
          <ac:spMkLst>
            <pc:docMk/>
            <pc:sldMk cId="930944531" sldId="284"/>
            <ac:spMk id="3" creationId="{605676BE-09B6-4581-97C4-4A40E9FB77E6}"/>
          </ac:spMkLst>
        </pc:spChg>
      </pc:sldChg>
      <pc:sldChg chg="modSp mod">
        <pc:chgData name="Silviu Niculita" userId="c225ca43ec9c2f2d" providerId="LiveId" clId="{02FEB1D1-2545-4145-A3B7-0FA2AB43EC0D}" dt="2021-06-10T10:58:25.678" v="211" actId="14"/>
        <pc:sldMkLst>
          <pc:docMk/>
          <pc:sldMk cId="940167221" sldId="285"/>
        </pc:sldMkLst>
        <pc:spChg chg="mod">
          <ac:chgData name="Silviu Niculita" userId="c225ca43ec9c2f2d" providerId="LiveId" clId="{02FEB1D1-2545-4145-A3B7-0FA2AB43EC0D}" dt="2021-06-10T10:58:25.678" v="211" actId="14"/>
          <ac:spMkLst>
            <pc:docMk/>
            <pc:sldMk cId="940167221" sldId="285"/>
            <ac:spMk id="3" creationId="{605676BE-09B6-4581-97C4-4A40E9FB77E6}"/>
          </ac:spMkLst>
        </pc:spChg>
      </pc:sldChg>
      <pc:sldChg chg="modSp mod">
        <pc:chgData name="Silviu Niculita" userId="c225ca43ec9c2f2d" providerId="LiveId" clId="{02FEB1D1-2545-4145-A3B7-0FA2AB43EC0D}" dt="2021-06-10T10:57:48.579" v="201" actId="404"/>
        <pc:sldMkLst>
          <pc:docMk/>
          <pc:sldMk cId="24166921" sldId="286"/>
        </pc:sldMkLst>
        <pc:spChg chg="mod">
          <ac:chgData name="Silviu Niculita" userId="c225ca43ec9c2f2d" providerId="LiveId" clId="{02FEB1D1-2545-4145-A3B7-0FA2AB43EC0D}" dt="2021-06-10T10:57:48.579" v="201" actId="404"/>
          <ac:spMkLst>
            <pc:docMk/>
            <pc:sldMk cId="24166921" sldId="286"/>
            <ac:spMk id="3" creationId="{605676BE-09B6-4581-97C4-4A40E9FB77E6}"/>
          </ac:spMkLst>
        </pc:spChg>
      </pc:sldChg>
      <pc:sldChg chg="modSp mod">
        <pc:chgData name="Silviu Niculita" userId="c225ca43ec9c2f2d" providerId="LiveId" clId="{02FEB1D1-2545-4145-A3B7-0FA2AB43EC0D}" dt="2021-06-10T11:32:43.672" v="241" actId="20577"/>
        <pc:sldMkLst>
          <pc:docMk/>
          <pc:sldMk cId="1865425696" sldId="287"/>
        </pc:sldMkLst>
        <pc:spChg chg="mod">
          <ac:chgData name="Silviu Niculita" userId="c225ca43ec9c2f2d" providerId="LiveId" clId="{02FEB1D1-2545-4145-A3B7-0FA2AB43EC0D}" dt="2021-06-10T11:32:43.672" v="241" actId="20577"/>
          <ac:spMkLst>
            <pc:docMk/>
            <pc:sldMk cId="1865425696" sldId="287"/>
            <ac:spMk id="2" creationId="{24F6D7A3-5DCB-4637-86CA-865FC015A7DE}"/>
          </ac:spMkLst>
        </pc:spChg>
        <pc:spChg chg="mod">
          <ac:chgData name="Silviu Niculita" userId="c225ca43ec9c2f2d" providerId="LiveId" clId="{02FEB1D1-2545-4145-A3B7-0FA2AB43EC0D}" dt="2021-06-10T10:58:04.717" v="206" actId="404"/>
          <ac:spMkLst>
            <pc:docMk/>
            <pc:sldMk cId="1865425696" sldId="287"/>
            <ac:spMk id="3" creationId="{605676BE-09B6-4581-97C4-4A40E9FB77E6}"/>
          </ac:spMkLst>
        </pc:spChg>
      </pc:sldChg>
      <pc:sldChg chg="modSp mod">
        <pc:chgData name="Silviu Niculita" userId="c225ca43ec9c2f2d" providerId="LiveId" clId="{02FEB1D1-2545-4145-A3B7-0FA2AB43EC0D}" dt="2021-06-10T09:58:09.673" v="66" actId="113"/>
        <pc:sldMkLst>
          <pc:docMk/>
          <pc:sldMk cId="739542184" sldId="310"/>
        </pc:sldMkLst>
        <pc:spChg chg="mod">
          <ac:chgData name="Silviu Niculita" userId="c225ca43ec9c2f2d" providerId="LiveId" clId="{02FEB1D1-2545-4145-A3B7-0FA2AB43EC0D}" dt="2021-06-10T09:58:09.673" v="66" actId="113"/>
          <ac:spMkLst>
            <pc:docMk/>
            <pc:sldMk cId="739542184" sldId="310"/>
            <ac:spMk id="3" creationId="{39679D6B-1414-46CA-ABE1-78B6E4494B7E}"/>
          </ac:spMkLst>
        </pc:spChg>
      </pc:sldChg>
      <pc:sldChg chg="modSp mod">
        <pc:chgData name="Silviu Niculita" userId="c225ca43ec9c2f2d" providerId="LiveId" clId="{02FEB1D1-2545-4145-A3B7-0FA2AB43EC0D}" dt="2021-06-10T11:33:09.327" v="242" actId="20577"/>
        <pc:sldMkLst>
          <pc:docMk/>
          <pc:sldMk cId="1851355048" sldId="311"/>
        </pc:sldMkLst>
        <pc:spChg chg="mod">
          <ac:chgData name="Silviu Niculita" userId="c225ca43ec9c2f2d" providerId="LiveId" clId="{02FEB1D1-2545-4145-A3B7-0FA2AB43EC0D}" dt="2021-06-10T11:33:09.327" v="242" actId="20577"/>
          <ac:spMkLst>
            <pc:docMk/>
            <pc:sldMk cId="1851355048" sldId="311"/>
            <ac:spMk id="2" creationId="{3A49D312-29FD-4D2F-A002-B9C6FB196F27}"/>
          </ac:spMkLst>
        </pc:spChg>
      </pc:sldChg>
      <pc:sldChg chg="modSp mod">
        <pc:chgData name="Silviu Niculita" userId="c225ca43ec9c2f2d" providerId="LiveId" clId="{02FEB1D1-2545-4145-A3B7-0FA2AB43EC0D}" dt="2021-06-10T11:33:12.139" v="243" actId="20577"/>
        <pc:sldMkLst>
          <pc:docMk/>
          <pc:sldMk cId="3212964902" sldId="312"/>
        </pc:sldMkLst>
        <pc:spChg chg="mod">
          <ac:chgData name="Silviu Niculita" userId="c225ca43ec9c2f2d" providerId="LiveId" clId="{02FEB1D1-2545-4145-A3B7-0FA2AB43EC0D}" dt="2021-06-10T11:33:12.139" v="243" actId="20577"/>
          <ac:spMkLst>
            <pc:docMk/>
            <pc:sldMk cId="3212964902" sldId="312"/>
            <ac:spMk id="2" creationId="{3A49D312-29FD-4D2F-A002-B9C6FB196F27}"/>
          </ac:spMkLst>
        </pc:spChg>
      </pc:sldChg>
      <pc:sldChg chg="modSp mod">
        <pc:chgData name="Silviu Niculita" userId="c225ca43ec9c2f2d" providerId="LiveId" clId="{02FEB1D1-2545-4145-A3B7-0FA2AB43EC0D}" dt="2021-06-10T11:33:17.115" v="245" actId="20577"/>
        <pc:sldMkLst>
          <pc:docMk/>
          <pc:sldMk cId="2663419182" sldId="313"/>
        </pc:sldMkLst>
        <pc:spChg chg="mod">
          <ac:chgData name="Silviu Niculita" userId="c225ca43ec9c2f2d" providerId="LiveId" clId="{02FEB1D1-2545-4145-A3B7-0FA2AB43EC0D}" dt="2021-06-10T11:33:17.115" v="245" actId="20577"/>
          <ac:spMkLst>
            <pc:docMk/>
            <pc:sldMk cId="2663419182" sldId="313"/>
            <ac:spMk id="2" creationId="{3A49D312-29FD-4D2F-A002-B9C6FB196F27}"/>
          </ac:spMkLst>
        </pc:spChg>
      </pc:sldChg>
      <pc:sldChg chg="modSp mod">
        <pc:chgData name="Silviu Niculita" userId="c225ca43ec9c2f2d" providerId="LiveId" clId="{02FEB1D1-2545-4145-A3B7-0FA2AB43EC0D}" dt="2021-06-10T11:37:54.532" v="265" actId="20577"/>
        <pc:sldMkLst>
          <pc:docMk/>
          <pc:sldMk cId="3424123993" sldId="314"/>
        </pc:sldMkLst>
        <pc:spChg chg="mod">
          <ac:chgData name="Silviu Niculita" userId="c225ca43ec9c2f2d" providerId="LiveId" clId="{02FEB1D1-2545-4145-A3B7-0FA2AB43EC0D}" dt="2021-06-10T11:37:54.532" v="265" actId="20577"/>
          <ac:spMkLst>
            <pc:docMk/>
            <pc:sldMk cId="3424123993" sldId="314"/>
            <ac:spMk id="2" creationId="{3A49D312-29FD-4D2F-A002-B9C6FB196F27}"/>
          </ac:spMkLst>
        </pc:spChg>
      </pc:sldChg>
      <pc:sldChg chg="modSp mod">
        <pc:chgData name="Silviu Niculita" userId="c225ca43ec9c2f2d" providerId="LiveId" clId="{02FEB1D1-2545-4145-A3B7-0FA2AB43EC0D}" dt="2021-06-10T11:33:19.594" v="246" actId="20577"/>
        <pc:sldMkLst>
          <pc:docMk/>
          <pc:sldMk cId="2816419751" sldId="317"/>
        </pc:sldMkLst>
        <pc:spChg chg="mod">
          <ac:chgData name="Silviu Niculita" userId="c225ca43ec9c2f2d" providerId="LiveId" clId="{02FEB1D1-2545-4145-A3B7-0FA2AB43EC0D}" dt="2021-06-10T11:33:19.594" v="246" actId="20577"/>
          <ac:spMkLst>
            <pc:docMk/>
            <pc:sldMk cId="2816419751" sldId="317"/>
            <ac:spMk id="2" creationId="{B89F38CC-29F6-4E5C-B949-A3E4DA09C1FE}"/>
          </ac:spMkLst>
        </pc:spChg>
      </pc:sldChg>
      <pc:sldChg chg="del">
        <pc:chgData name="Silviu Niculita" userId="c225ca43ec9c2f2d" providerId="LiveId" clId="{02FEB1D1-2545-4145-A3B7-0FA2AB43EC0D}" dt="2021-06-10T10:06:02.350" v="67" actId="2696"/>
        <pc:sldMkLst>
          <pc:docMk/>
          <pc:sldMk cId="137761064" sldId="318"/>
        </pc:sldMkLst>
      </pc:sldChg>
      <pc:sldChg chg="modSp mod">
        <pc:chgData name="Silviu Niculita" userId="c225ca43ec9c2f2d" providerId="LiveId" clId="{02FEB1D1-2545-4145-A3B7-0FA2AB43EC0D}" dt="2021-06-10T10:09:44.494" v="78" actId="20577"/>
        <pc:sldMkLst>
          <pc:docMk/>
          <pc:sldMk cId="1166516113" sldId="1933"/>
        </pc:sldMkLst>
        <pc:spChg chg="mod">
          <ac:chgData name="Silviu Niculita" userId="c225ca43ec9c2f2d" providerId="LiveId" clId="{02FEB1D1-2545-4145-A3B7-0FA2AB43EC0D}" dt="2021-06-10T10:09:44.494" v="78" actId="20577"/>
          <ac:spMkLst>
            <pc:docMk/>
            <pc:sldMk cId="1166516113" sldId="1933"/>
            <ac:spMk id="2" creationId="{0F72392D-9450-453F-9826-C1A80E4826FA}"/>
          </ac:spMkLst>
        </pc:spChg>
      </pc:sldChg>
      <pc:sldChg chg="modSp mod">
        <pc:chgData name="Silviu Niculita" userId="c225ca43ec9c2f2d" providerId="LiveId" clId="{02FEB1D1-2545-4145-A3B7-0FA2AB43EC0D}" dt="2021-06-10T10:12:23.757" v="85" actId="20577"/>
        <pc:sldMkLst>
          <pc:docMk/>
          <pc:sldMk cId="2463619749" sldId="1934"/>
        </pc:sldMkLst>
        <pc:spChg chg="mod">
          <ac:chgData name="Silviu Niculita" userId="c225ca43ec9c2f2d" providerId="LiveId" clId="{02FEB1D1-2545-4145-A3B7-0FA2AB43EC0D}" dt="2021-06-10T10:12:23.757" v="85" actId="20577"/>
          <ac:spMkLst>
            <pc:docMk/>
            <pc:sldMk cId="2463619749" sldId="1934"/>
            <ac:spMk id="2" creationId="{77D3D0C1-A260-4ECF-A383-FE549202F1B4}"/>
          </ac:spMkLst>
        </pc:spChg>
      </pc:sldChg>
      <pc:sldChg chg="modSp mod">
        <pc:chgData name="Silviu Niculita" userId="c225ca43ec9c2f2d" providerId="LiveId" clId="{02FEB1D1-2545-4145-A3B7-0FA2AB43EC0D}" dt="2021-06-10T11:38:21.491" v="269" actId="20577"/>
        <pc:sldMkLst>
          <pc:docMk/>
          <pc:sldMk cId="3206847867" sldId="1935"/>
        </pc:sldMkLst>
        <pc:spChg chg="mod">
          <ac:chgData name="Silviu Niculita" userId="c225ca43ec9c2f2d" providerId="LiveId" clId="{02FEB1D1-2545-4145-A3B7-0FA2AB43EC0D}" dt="2021-06-10T11:38:21.491" v="269" actId="20577"/>
          <ac:spMkLst>
            <pc:docMk/>
            <pc:sldMk cId="3206847867" sldId="1935"/>
            <ac:spMk id="2" creationId="{0C2B488C-9D15-4879-B287-BA48204AB972}"/>
          </ac:spMkLst>
        </pc:spChg>
      </pc:sldChg>
      <pc:sldChg chg="modSp mod">
        <pc:chgData name="Silviu Niculita" userId="c225ca43ec9c2f2d" providerId="LiveId" clId="{02FEB1D1-2545-4145-A3B7-0FA2AB43EC0D}" dt="2021-06-10T11:38:10.955" v="268" actId="20577"/>
        <pc:sldMkLst>
          <pc:docMk/>
          <pc:sldMk cId="680570315" sldId="1936"/>
        </pc:sldMkLst>
        <pc:spChg chg="mod">
          <ac:chgData name="Silviu Niculita" userId="c225ca43ec9c2f2d" providerId="LiveId" clId="{02FEB1D1-2545-4145-A3B7-0FA2AB43EC0D}" dt="2021-06-10T11:38:10.955" v="268" actId="20577"/>
          <ac:spMkLst>
            <pc:docMk/>
            <pc:sldMk cId="680570315" sldId="1936"/>
            <ac:spMk id="2" creationId="{A1E95E0C-FCFE-4CB4-BA17-359CEBC97B0F}"/>
          </ac:spMkLst>
        </pc:spChg>
      </pc:sldChg>
      <pc:sldChg chg="modSp mod">
        <pc:chgData name="Silviu Niculita" userId="c225ca43ec9c2f2d" providerId="LiveId" clId="{02FEB1D1-2545-4145-A3B7-0FA2AB43EC0D}" dt="2021-06-10T11:38:36.935" v="271" actId="20577"/>
        <pc:sldMkLst>
          <pc:docMk/>
          <pc:sldMk cId="3597100356" sldId="1938"/>
        </pc:sldMkLst>
        <pc:spChg chg="mod">
          <ac:chgData name="Silviu Niculita" userId="c225ca43ec9c2f2d" providerId="LiveId" clId="{02FEB1D1-2545-4145-A3B7-0FA2AB43EC0D}" dt="2021-06-10T11:38:36.935" v="271" actId="20577"/>
          <ac:spMkLst>
            <pc:docMk/>
            <pc:sldMk cId="3597100356" sldId="1938"/>
            <ac:spMk id="2" creationId="{9AFBFBC4-DEFC-44A2-9D85-4B8B546A32FA}"/>
          </ac:spMkLst>
        </pc:spChg>
      </pc:sldChg>
      <pc:sldChg chg="modSp mod">
        <pc:chgData name="Silviu Niculita" userId="c225ca43ec9c2f2d" providerId="LiveId" clId="{02FEB1D1-2545-4145-A3B7-0FA2AB43EC0D}" dt="2021-06-10T10:35:22.966" v="153" actId="1076"/>
        <pc:sldMkLst>
          <pc:docMk/>
          <pc:sldMk cId="2572929917" sldId="1939"/>
        </pc:sldMkLst>
        <pc:spChg chg="mod">
          <ac:chgData name="Silviu Niculita" userId="c225ca43ec9c2f2d" providerId="LiveId" clId="{02FEB1D1-2545-4145-A3B7-0FA2AB43EC0D}" dt="2021-06-10T10:18:29.927" v="90" actId="6549"/>
          <ac:spMkLst>
            <pc:docMk/>
            <pc:sldMk cId="2572929917" sldId="1939"/>
            <ac:spMk id="2" creationId="{5CB84931-30F4-400F-BA8B-C2D0CD9D1AAC}"/>
          </ac:spMkLst>
        </pc:spChg>
        <pc:picChg chg="mod">
          <ac:chgData name="Silviu Niculita" userId="c225ca43ec9c2f2d" providerId="LiveId" clId="{02FEB1D1-2545-4145-A3B7-0FA2AB43EC0D}" dt="2021-06-10T10:35:22.966" v="153" actId="1076"/>
          <ac:picMkLst>
            <pc:docMk/>
            <pc:sldMk cId="2572929917" sldId="1939"/>
            <ac:picMk id="8" creationId="{F960B00D-E212-4C3B-AFE7-E859E80FA0C7}"/>
          </ac:picMkLst>
        </pc:picChg>
      </pc:sldChg>
      <pc:sldChg chg="ord">
        <pc:chgData name="Silviu Niculita" userId="c225ca43ec9c2f2d" providerId="LiveId" clId="{02FEB1D1-2545-4145-A3B7-0FA2AB43EC0D}" dt="2021-06-10T10:56:31.807" v="194" actId="20578"/>
        <pc:sldMkLst>
          <pc:docMk/>
          <pc:sldMk cId="713155893" sldId="1946"/>
        </pc:sldMkLst>
      </pc:sldChg>
      <pc:sldChg chg="modSp mod">
        <pc:chgData name="Silviu Niculita" userId="c225ca43ec9c2f2d" providerId="LiveId" clId="{02FEB1D1-2545-4145-A3B7-0FA2AB43EC0D}" dt="2021-06-10T11:32:33.805" v="239" actId="20577"/>
        <pc:sldMkLst>
          <pc:docMk/>
          <pc:sldMk cId="481219667" sldId="1948"/>
        </pc:sldMkLst>
        <pc:spChg chg="mod">
          <ac:chgData name="Silviu Niculita" userId="c225ca43ec9c2f2d" providerId="LiveId" clId="{02FEB1D1-2545-4145-A3B7-0FA2AB43EC0D}" dt="2021-06-10T11:32:33.805" v="239" actId="20577"/>
          <ac:spMkLst>
            <pc:docMk/>
            <pc:sldMk cId="481219667" sldId="1948"/>
            <ac:spMk id="2" creationId="{24F6D7A3-5DCB-4637-86CA-865FC015A7DE}"/>
          </ac:spMkLst>
        </pc:spChg>
        <pc:spChg chg="mod">
          <ac:chgData name="Silviu Niculita" userId="c225ca43ec9c2f2d" providerId="LiveId" clId="{02FEB1D1-2545-4145-A3B7-0FA2AB43EC0D}" dt="2021-06-10T10:59:20.671" v="219" actId="14"/>
          <ac:spMkLst>
            <pc:docMk/>
            <pc:sldMk cId="481219667" sldId="1948"/>
            <ac:spMk id="3" creationId="{605676BE-09B6-4581-97C4-4A40E9FB77E6}"/>
          </ac:spMkLst>
        </pc:spChg>
      </pc:sldChg>
      <pc:sldChg chg="modSp mod ord">
        <pc:chgData name="Silviu Niculita" userId="c225ca43ec9c2f2d" providerId="LiveId" clId="{02FEB1D1-2545-4145-A3B7-0FA2AB43EC0D}" dt="2021-06-10T11:32:01.445" v="230" actId="20577"/>
        <pc:sldMkLst>
          <pc:docMk/>
          <pc:sldMk cId="2600561889" sldId="1949"/>
        </pc:sldMkLst>
        <pc:spChg chg="mod">
          <ac:chgData name="Silviu Niculita" userId="c225ca43ec9c2f2d" providerId="LiveId" clId="{02FEB1D1-2545-4145-A3B7-0FA2AB43EC0D}" dt="2021-06-10T11:32:01.445" v="230" actId="20577"/>
          <ac:spMkLst>
            <pc:docMk/>
            <pc:sldMk cId="2600561889" sldId="1949"/>
            <ac:spMk id="2" creationId="{4363F07F-79F9-4A0C-9E0B-90B04FAE01C6}"/>
          </ac:spMkLst>
        </pc:spChg>
        <pc:picChg chg="mod">
          <ac:chgData name="Silviu Niculita" userId="c225ca43ec9c2f2d" providerId="LiveId" clId="{02FEB1D1-2545-4145-A3B7-0FA2AB43EC0D}" dt="2021-06-10T09:16:05.418" v="8" actId="1076"/>
          <ac:picMkLst>
            <pc:docMk/>
            <pc:sldMk cId="2600561889" sldId="1949"/>
            <ac:picMk id="11" creationId="{18FF8F69-E865-4822-880B-7AC298C0DE52}"/>
          </ac:picMkLst>
        </pc:picChg>
      </pc:sldChg>
      <pc:sldChg chg="modSp mod ord">
        <pc:chgData name="Silviu Niculita" userId="c225ca43ec9c2f2d" providerId="LiveId" clId="{02FEB1D1-2545-4145-A3B7-0FA2AB43EC0D}" dt="2021-06-10T11:31:55.279" v="227" actId="20577"/>
        <pc:sldMkLst>
          <pc:docMk/>
          <pc:sldMk cId="389855978" sldId="1950"/>
        </pc:sldMkLst>
        <pc:spChg chg="mod">
          <ac:chgData name="Silviu Niculita" userId="c225ca43ec9c2f2d" providerId="LiveId" clId="{02FEB1D1-2545-4145-A3B7-0FA2AB43EC0D}" dt="2021-06-10T11:31:55.279" v="227" actId="20577"/>
          <ac:spMkLst>
            <pc:docMk/>
            <pc:sldMk cId="389855978" sldId="1950"/>
            <ac:spMk id="2" creationId="{A9E2C91A-7282-4A0D-BA03-ECFBB5F79955}"/>
          </ac:spMkLst>
        </pc:spChg>
        <pc:picChg chg="mod">
          <ac:chgData name="Silviu Niculita" userId="c225ca43ec9c2f2d" providerId="LiveId" clId="{02FEB1D1-2545-4145-A3B7-0FA2AB43EC0D}" dt="2021-06-10T09:16:13.802" v="11" actId="1076"/>
          <ac:picMkLst>
            <pc:docMk/>
            <pc:sldMk cId="389855978" sldId="1950"/>
            <ac:picMk id="7" creationId="{910A3355-4319-4127-A7FC-706F3C0B214F}"/>
          </ac:picMkLst>
        </pc:picChg>
      </pc:sldChg>
      <pc:sldChg chg="modSp mod ord">
        <pc:chgData name="Silviu Niculita" userId="c225ca43ec9c2f2d" providerId="LiveId" clId="{02FEB1D1-2545-4145-A3B7-0FA2AB43EC0D}" dt="2021-06-10T11:31:50.977" v="226" actId="20577"/>
        <pc:sldMkLst>
          <pc:docMk/>
          <pc:sldMk cId="1552314003" sldId="1951"/>
        </pc:sldMkLst>
        <pc:spChg chg="mod">
          <ac:chgData name="Silviu Niculita" userId="c225ca43ec9c2f2d" providerId="LiveId" clId="{02FEB1D1-2545-4145-A3B7-0FA2AB43EC0D}" dt="2021-06-10T11:31:50.977" v="226" actId="20577"/>
          <ac:spMkLst>
            <pc:docMk/>
            <pc:sldMk cId="1552314003" sldId="1951"/>
            <ac:spMk id="2" creationId="{A9E2C91A-7282-4A0D-BA03-ECFBB5F79955}"/>
          </ac:spMkLst>
        </pc:spChg>
        <pc:picChg chg="mod">
          <ac:chgData name="Silviu Niculita" userId="c225ca43ec9c2f2d" providerId="LiveId" clId="{02FEB1D1-2545-4145-A3B7-0FA2AB43EC0D}" dt="2021-06-10T09:16:24.026" v="13" actId="1076"/>
          <ac:picMkLst>
            <pc:docMk/>
            <pc:sldMk cId="1552314003" sldId="1951"/>
            <ac:picMk id="12" creationId="{341CA323-55CB-40BA-A22C-21398AB196DD}"/>
          </ac:picMkLst>
        </pc:picChg>
      </pc:sldChg>
      <pc:sldChg chg="modSp mod">
        <pc:chgData name="Silviu Niculita" userId="c225ca43ec9c2f2d" providerId="LiveId" clId="{02FEB1D1-2545-4145-A3B7-0FA2AB43EC0D}" dt="2021-06-10T09:16:31.796" v="14" actId="1076"/>
        <pc:sldMkLst>
          <pc:docMk/>
          <pc:sldMk cId="4282489654" sldId="1952"/>
        </pc:sldMkLst>
        <pc:picChg chg="mod">
          <ac:chgData name="Silviu Niculita" userId="c225ca43ec9c2f2d" providerId="LiveId" clId="{02FEB1D1-2545-4145-A3B7-0FA2AB43EC0D}" dt="2021-06-10T09:16:31.796" v="14" actId="1076"/>
          <ac:picMkLst>
            <pc:docMk/>
            <pc:sldMk cId="4282489654" sldId="1952"/>
            <ac:picMk id="7" creationId="{310F4DB5-3BDD-4A8D-B2B8-89A52E45512A}"/>
          </ac:picMkLst>
        </pc:picChg>
      </pc:sldChg>
      <pc:sldChg chg="del mod modShow">
        <pc:chgData name="Silviu Niculita" userId="c225ca43ec9c2f2d" providerId="LiveId" clId="{02FEB1D1-2545-4145-A3B7-0FA2AB43EC0D}" dt="2021-06-10T11:38:30.396" v="270" actId="2696"/>
        <pc:sldMkLst>
          <pc:docMk/>
          <pc:sldMk cId="463739332" sldId="1954"/>
        </pc:sldMkLst>
      </pc:sldChg>
      <pc:sldChg chg="modSp mod">
        <pc:chgData name="Silviu Niculita" userId="c225ca43ec9c2f2d" providerId="LiveId" clId="{02FEB1D1-2545-4145-A3B7-0FA2AB43EC0D}" dt="2021-06-10T11:36:27.426" v="264"/>
        <pc:sldMkLst>
          <pc:docMk/>
          <pc:sldMk cId="2100156482" sldId="1959"/>
        </pc:sldMkLst>
        <pc:spChg chg="mod">
          <ac:chgData name="Silviu Niculita" userId="c225ca43ec9c2f2d" providerId="LiveId" clId="{02FEB1D1-2545-4145-A3B7-0FA2AB43EC0D}" dt="2021-06-10T11:36:27.426" v="264"/>
          <ac:spMkLst>
            <pc:docMk/>
            <pc:sldMk cId="2100156482" sldId="1959"/>
            <ac:spMk id="3" creationId="{E72C2FF8-8A2B-AB4C-BBE4-F62604E66CA5}"/>
          </ac:spMkLst>
        </pc:spChg>
      </pc:sldChg>
      <pc:sldChg chg="modSp mod">
        <pc:chgData name="Silviu Niculita" userId="c225ca43ec9c2f2d" providerId="LiveId" clId="{02FEB1D1-2545-4145-A3B7-0FA2AB43EC0D}" dt="2021-06-10T09:15:22.378" v="3" actId="1076"/>
        <pc:sldMkLst>
          <pc:docMk/>
          <pc:sldMk cId="3087935730" sldId="1961"/>
        </pc:sldMkLst>
        <pc:picChg chg="mod">
          <ac:chgData name="Silviu Niculita" userId="c225ca43ec9c2f2d" providerId="LiveId" clId="{02FEB1D1-2545-4145-A3B7-0FA2AB43EC0D}" dt="2021-06-10T09:15:22.378" v="3" actId="1076"/>
          <ac:picMkLst>
            <pc:docMk/>
            <pc:sldMk cId="3087935730" sldId="1961"/>
            <ac:picMk id="9" creationId="{0BB87C6A-F010-A743-A167-C4A59EE6DD8D}"/>
          </ac:picMkLst>
        </pc:picChg>
      </pc:sldChg>
      <pc:sldChg chg="modSp mod">
        <pc:chgData name="Silviu Niculita" userId="c225ca43ec9c2f2d" providerId="LiveId" clId="{02FEB1D1-2545-4145-A3B7-0FA2AB43EC0D}" dt="2021-06-10T09:15:18.250" v="2" actId="1076"/>
        <pc:sldMkLst>
          <pc:docMk/>
          <pc:sldMk cId="3143777508" sldId="1962"/>
        </pc:sldMkLst>
        <pc:picChg chg="mod">
          <ac:chgData name="Silviu Niculita" userId="c225ca43ec9c2f2d" providerId="LiveId" clId="{02FEB1D1-2545-4145-A3B7-0FA2AB43EC0D}" dt="2021-06-10T09:15:18.250" v="2" actId="1076"/>
          <ac:picMkLst>
            <pc:docMk/>
            <pc:sldMk cId="3143777508" sldId="1962"/>
            <ac:picMk id="7" creationId="{ABF22D69-532E-6347-AED1-E2A8A17498D3}"/>
          </ac:picMkLst>
        </pc:picChg>
      </pc:sldChg>
      <pc:sldChg chg="add del">
        <pc:chgData name="Silviu Niculita" userId="c225ca43ec9c2f2d" providerId="LiveId" clId="{02FEB1D1-2545-4145-A3B7-0FA2AB43EC0D}" dt="2021-06-10T14:58:27.392" v="273"/>
        <pc:sldMkLst>
          <pc:docMk/>
          <pc:sldMk cId="2750324340" sldId="1963"/>
        </pc:sldMkLst>
      </pc:sldChg>
      <pc:sldChg chg="modSp mod">
        <pc:chgData name="Silviu Niculita" userId="c225ca43ec9c2f2d" providerId="LiveId" clId="{02FEB1D1-2545-4145-A3B7-0FA2AB43EC0D}" dt="2021-06-10T09:15:14.579" v="1" actId="1076"/>
        <pc:sldMkLst>
          <pc:docMk/>
          <pc:sldMk cId="2332254044" sldId="1964"/>
        </pc:sldMkLst>
        <pc:picChg chg="mod">
          <ac:chgData name="Silviu Niculita" userId="c225ca43ec9c2f2d" providerId="LiveId" clId="{02FEB1D1-2545-4145-A3B7-0FA2AB43EC0D}" dt="2021-06-10T09:15:14.579" v="1" actId="1076"/>
          <ac:picMkLst>
            <pc:docMk/>
            <pc:sldMk cId="2332254044" sldId="1964"/>
            <ac:picMk id="6" creationId="{78832D69-FD88-9E48-86E9-23E89D356312}"/>
          </ac:picMkLst>
        </pc:picChg>
      </pc:sldChg>
      <pc:sldChg chg="addSp delSp modSp new mod">
        <pc:chgData name="Silviu Niculita" userId="c225ca43ec9c2f2d" providerId="LiveId" clId="{02FEB1D1-2545-4145-A3B7-0FA2AB43EC0D}" dt="2021-06-10T10:56:50.463" v="196" actId="1076"/>
        <pc:sldMkLst>
          <pc:docMk/>
          <pc:sldMk cId="825000693" sldId="1965"/>
        </pc:sldMkLst>
        <pc:spChg chg="mod">
          <ac:chgData name="Silviu Niculita" userId="c225ca43ec9c2f2d" providerId="LiveId" clId="{02FEB1D1-2545-4145-A3B7-0FA2AB43EC0D}" dt="2021-06-10T10:56:15.649" v="192" actId="20577"/>
          <ac:spMkLst>
            <pc:docMk/>
            <pc:sldMk cId="825000693" sldId="1965"/>
            <ac:spMk id="2" creationId="{C6EBAEAC-74AC-8D4F-B58C-C408328D01C5}"/>
          </ac:spMkLst>
        </pc:spChg>
        <pc:spChg chg="del">
          <ac:chgData name="Silviu Niculita" userId="c225ca43ec9c2f2d" providerId="LiveId" clId="{02FEB1D1-2545-4145-A3B7-0FA2AB43EC0D}" dt="2021-06-10T10:56:05.856" v="161" actId="478"/>
          <ac:spMkLst>
            <pc:docMk/>
            <pc:sldMk cId="825000693" sldId="1965"/>
            <ac:spMk id="3" creationId="{B0B364E9-74BB-7246-B96B-45C5EB3DC5EC}"/>
          </ac:spMkLst>
        </pc:spChg>
        <pc:spChg chg="del">
          <ac:chgData name="Silviu Niculita" userId="c225ca43ec9c2f2d" providerId="LiveId" clId="{02FEB1D1-2545-4145-A3B7-0FA2AB43EC0D}" dt="2021-06-10T10:56:07.109" v="162" actId="478"/>
          <ac:spMkLst>
            <pc:docMk/>
            <pc:sldMk cId="825000693" sldId="1965"/>
            <ac:spMk id="4" creationId="{654EE8D9-B120-5149-84E2-C62C6C0FF48C}"/>
          </ac:spMkLst>
        </pc:spChg>
        <pc:picChg chg="add mod">
          <ac:chgData name="Silviu Niculita" userId="c225ca43ec9c2f2d" providerId="LiveId" clId="{02FEB1D1-2545-4145-A3B7-0FA2AB43EC0D}" dt="2021-06-10T10:56:50.463" v="196" actId="1076"/>
          <ac:picMkLst>
            <pc:docMk/>
            <pc:sldMk cId="825000693" sldId="1965"/>
            <ac:picMk id="5" creationId="{6E435F1B-BF97-5845-A521-0405A3DAF39E}"/>
          </ac:picMkLst>
        </pc:picChg>
      </pc:sld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hyperlink" Target="http://2014.igem.org/Team:Minnesota" TargetMode="External"/><Relationship Id="rId1" Type="http://schemas.openxmlformats.org/officeDocument/2006/relationships/image" Target="../media/image28.png"/><Relationship Id="rId6" Type="http://schemas.openxmlformats.org/officeDocument/2006/relationships/image" Target="../media/image32.png"/><Relationship Id="rId5" Type="http://schemas.openxmlformats.org/officeDocument/2006/relationships/image" Target="../media/image31.jpg"/><Relationship Id="rId4" Type="http://schemas.openxmlformats.org/officeDocument/2006/relationships/image" Target="../media/image30.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hyperlink" Target="http://2014.igem.org/Team:Minnesota" TargetMode="External"/><Relationship Id="rId1" Type="http://schemas.openxmlformats.org/officeDocument/2006/relationships/image" Target="../media/image28.png"/><Relationship Id="rId6" Type="http://schemas.openxmlformats.org/officeDocument/2006/relationships/image" Target="../media/image32.png"/><Relationship Id="rId5" Type="http://schemas.openxmlformats.org/officeDocument/2006/relationships/image" Target="../media/image31.jpg"/><Relationship Id="rId4" Type="http://schemas.openxmlformats.org/officeDocument/2006/relationships/image" Target="../media/image30.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80677E-6563-4858-90C6-AD8462EA1820}" type="doc">
      <dgm:prSet loTypeId="urn:microsoft.com/office/officeart/2008/layout/VerticalCurvedList" loCatId="list" qsTypeId="urn:microsoft.com/office/officeart/2005/8/quickstyle/simple4" qsCatId="simple" csTypeId="urn:microsoft.com/office/officeart/2005/8/colors/accent1_2" csCatId="accent1" phldr="1"/>
      <dgm:spPr/>
      <dgm:t>
        <a:bodyPr/>
        <a:lstStyle/>
        <a:p>
          <a:endParaRPr lang="en-IN"/>
        </a:p>
      </dgm:t>
    </dgm:pt>
    <dgm:pt modelId="{C93EA07E-6C53-4DB2-9457-E27C42DE2305}">
      <dgm:prSet/>
      <dgm:spPr/>
      <dgm:t>
        <a:bodyPr/>
        <a:lstStyle/>
        <a:p>
          <a:r>
            <a:rPr lang="en-IN" i="0" baseline="0"/>
            <a:t>Design for Scalability</a:t>
          </a:r>
          <a:endParaRPr lang="en-IN"/>
        </a:p>
      </dgm:t>
    </dgm:pt>
    <dgm:pt modelId="{E89453FA-D2FF-4B6C-96BD-ACD110414D45}" type="parTrans" cxnId="{6131E885-8CBB-42E3-A435-14DE070FBA79}">
      <dgm:prSet/>
      <dgm:spPr/>
      <dgm:t>
        <a:bodyPr/>
        <a:lstStyle/>
        <a:p>
          <a:endParaRPr lang="en-IN"/>
        </a:p>
      </dgm:t>
    </dgm:pt>
    <dgm:pt modelId="{3D50F9CF-BB7E-493E-ADF7-9CDBC235B93C}" type="sibTrans" cxnId="{6131E885-8CBB-42E3-A435-14DE070FBA79}">
      <dgm:prSet/>
      <dgm:spPr/>
      <dgm:t>
        <a:bodyPr/>
        <a:lstStyle/>
        <a:p>
          <a:endParaRPr lang="en-IN"/>
        </a:p>
      </dgm:t>
    </dgm:pt>
    <dgm:pt modelId="{45740278-E3C1-4F0E-8936-A0B07146F58B}">
      <dgm:prSet/>
      <dgm:spPr/>
      <dgm:t>
        <a:bodyPr/>
        <a:lstStyle/>
        <a:p>
          <a:r>
            <a:rPr lang="en-IN" i="0" baseline="0"/>
            <a:t>Design for High Availability</a:t>
          </a:r>
          <a:endParaRPr lang="en-IN"/>
        </a:p>
      </dgm:t>
    </dgm:pt>
    <dgm:pt modelId="{0E309A4F-B13A-4886-A195-EC524EC21905}" type="parTrans" cxnId="{6C732B72-0C76-43D6-9AD5-6006F48CC4CD}">
      <dgm:prSet/>
      <dgm:spPr/>
      <dgm:t>
        <a:bodyPr/>
        <a:lstStyle/>
        <a:p>
          <a:endParaRPr lang="en-IN"/>
        </a:p>
      </dgm:t>
    </dgm:pt>
    <dgm:pt modelId="{74831758-F724-487D-A7B5-164C7A01B2C1}" type="sibTrans" cxnId="{6C732B72-0C76-43D6-9AD5-6006F48CC4CD}">
      <dgm:prSet/>
      <dgm:spPr/>
      <dgm:t>
        <a:bodyPr/>
        <a:lstStyle/>
        <a:p>
          <a:endParaRPr lang="en-IN"/>
        </a:p>
      </dgm:t>
    </dgm:pt>
    <dgm:pt modelId="{76FA71D3-9563-4E29-A9CF-7AE93A86F628}">
      <dgm:prSet/>
      <dgm:spPr/>
      <dgm:t>
        <a:bodyPr/>
        <a:lstStyle/>
        <a:p>
          <a:r>
            <a:rPr lang="en-IN" i="0" baseline="0"/>
            <a:t>Design for Resilience</a:t>
          </a:r>
          <a:endParaRPr lang="en-IN"/>
        </a:p>
      </dgm:t>
    </dgm:pt>
    <dgm:pt modelId="{14A66864-CB4D-406B-B753-5C8C924CBC87}" type="parTrans" cxnId="{23F53F42-D9B6-4226-866E-2BA5987FC45A}">
      <dgm:prSet/>
      <dgm:spPr/>
      <dgm:t>
        <a:bodyPr/>
        <a:lstStyle/>
        <a:p>
          <a:endParaRPr lang="en-IN"/>
        </a:p>
      </dgm:t>
    </dgm:pt>
    <dgm:pt modelId="{6CB65C4A-D043-4855-8602-F27D49C7B598}" type="sibTrans" cxnId="{23F53F42-D9B6-4226-866E-2BA5987FC45A}">
      <dgm:prSet/>
      <dgm:spPr/>
      <dgm:t>
        <a:bodyPr/>
        <a:lstStyle/>
        <a:p>
          <a:endParaRPr lang="en-IN"/>
        </a:p>
      </dgm:t>
    </dgm:pt>
    <dgm:pt modelId="{83853233-80C7-4665-9642-B8799E727D0F}">
      <dgm:prSet/>
      <dgm:spPr/>
      <dgm:t>
        <a:bodyPr/>
        <a:lstStyle/>
        <a:p>
          <a:r>
            <a:rPr lang="en-IN" i="0" baseline="0"/>
            <a:t>Design for Data</a:t>
          </a:r>
          <a:endParaRPr lang="en-IN"/>
        </a:p>
      </dgm:t>
    </dgm:pt>
    <dgm:pt modelId="{EA36EDF2-8A18-4EE5-9A85-71B45D604AE3}" type="parTrans" cxnId="{F0BE18DA-5EF0-4465-81CE-84CCBFBB3C0B}">
      <dgm:prSet/>
      <dgm:spPr/>
      <dgm:t>
        <a:bodyPr/>
        <a:lstStyle/>
        <a:p>
          <a:endParaRPr lang="en-IN"/>
        </a:p>
      </dgm:t>
    </dgm:pt>
    <dgm:pt modelId="{71133969-977A-41D9-80B3-AA8DF758B259}" type="sibTrans" cxnId="{F0BE18DA-5EF0-4465-81CE-84CCBFBB3C0B}">
      <dgm:prSet/>
      <dgm:spPr/>
      <dgm:t>
        <a:bodyPr/>
        <a:lstStyle/>
        <a:p>
          <a:endParaRPr lang="en-IN"/>
        </a:p>
      </dgm:t>
    </dgm:pt>
    <dgm:pt modelId="{6F0C4E50-FBF5-47E1-8C9F-C899628EC34E}">
      <dgm:prSet/>
      <dgm:spPr/>
      <dgm:t>
        <a:bodyPr/>
        <a:lstStyle/>
        <a:p>
          <a:r>
            <a:rPr lang="en-IN" i="0" baseline="0" dirty="0"/>
            <a:t>Design for Messaging</a:t>
          </a:r>
          <a:endParaRPr lang="en-IN" dirty="0"/>
        </a:p>
      </dgm:t>
    </dgm:pt>
    <dgm:pt modelId="{85CE02A4-FEEE-411A-88E0-08C5F1D8FBE3}" type="parTrans" cxnId="{0FB56467-2C40-469D-8741-0F9ED9B8755F}">
      <dgm:prSet/>
      <dgm:spPr/>
      <dgm:t>
        <a:bodyPr/>
        <a:lstStyle/>
        <a:p>
          <a:endParaRPr lang="en-IN"/>
        </a:p>
      </dgm:t>
    </dgm:pt>
    <dgm:pt modelId="{E0F22F15-D275-4095-8F3E-EE62C9588642}" type="sibTrans" cxnId="{0FB56467-2C40-469D-8741-0F9ED9B8755F}">
      <dgm:prSet/>
      <dgm:spPr/>
      <dgm:t>
        <a:bodyPr/>
        <a:lstStyle/>
        <a:p>
          <a:endParaRPr lang="en-IN"/>
        </a:p>
      </dgm:t>
    </dgm:pt>
    <dgm:pt modelId="{F5100827-863B-45E5-9C3A-E7420C1580F9}">
      <dgm:prSet/>
      <dgm:spPr/>
      <dgm:t>
        <a:bodyPr/>
        <a:lstStyle/>
        <a:p>
          <a:r>
            <a:rPr lang="en-IN" i="0" baseline="0" dirty="0"/>
            <a:t>Design for Management and Monitoring</a:t>
          </a:r>
          <a:endParaRPr lang="en-IN" dirty="0"/>
        </a:p>
      </dgm:t>
    </dgm:pt>
    <dgm:pt modelId="{923D1957-3810-478E-BB77-6924427F7768}" type="parTrans" cxnId="{49036819-88A5-4461-B313-425DBC175473}">
      <dgm:prSet/>
      <dgm:spPr/>
      <dgm:t>
        <a:bodyPr/>
        <a:lstStyle/>
        <a:p>
          <a:endParaRPr lang="en-IN"/>
        </a:p>
      </dgm:t>
    </dgm:pt>
    <dgm:pt modelId="{2B3D5692-C7A5-4F4A-8A3C-1B5B635D52C5}" type="sibTrans" cxnId="{49036819-88A5-4461-B313-425DBC175473}">
      <dgm:prSet/>
      <dgm:spPr/>
      <dgm:t>
        <a:bodyPr/>
        <a:lstStyle/>
        <a:p>
          <a:endParaRPr lang="en-IN"/>
        </a:p>
      </dgm:t>
    </dgm:pt>
    <dgm:pt modelId="{6E7828AC-02EA-8A4A-99AE-6EDED9F01A9C}">
      <dgm:prSet/>
      <dgm:spPr/>
      <dgm:t>
        <a:bodyPr/>
        <a:lstStyle/>
        <a:p>
          <a:r>
            <a:rPr lang="en-GB" dirty="0"/>
            <a:t>Case Studies</a:t>
          </a:r>
        </a:p>
      </dgm:t>
    </dgm:pt>
    <dgm:pt modelId="{2CE28E65-BF0D-B141-8CAB-A7709352D93B}" type="parTrans" cxnId="{FEB8AC72-12F8-794E-87DE-CA07CF587649}">
      <dgm:prSet/>
      <dgm:spPr/>
      <dgm:t>
        <a:bodyPr/>
        <a:lstStyle/>
        <a:p>
          <a:endParaRPr lang="en-GB"/>
        </a:p>
      </dgm:t>
    </dgm:pt>
    <dgm:pt modelId="{54F9B438-929A-5347-B594-58DD029A923B}" type="sibTrans" cxnId="{FEB8AC72-12F8-794E-87DE-CA07CF587649}">
      <dgm:prSet/>
      <dgm:spPr/>
      <dgm:t>
        <a:bodyPr/>
        <a:lstStyle/>
        <a:p>
          <a:endParaRPr lang="en-GB"/>
        </a:p>
      </dgm:t>
    </dgm:pt>
    <dgm:pt modelId="{EB868291-1135-4182-BEA5-F2395B555E80}" type="pres">
      <dgm:prSet presAssocID="{AA80677E-6563-4858-90C6-AD8462EA1820}" presName="Name0" presStyleCnt="0">
        <dgm:presLayoutVars>
          <dgm:chMax val="7"/>
          <dgm:chPref val="7"/>
          <dgm:dir/>
        </dgm:presLayoutVars>
      </dgm:prSet>
      <dgm:spPr/>
    </dgm:pt>
    <dgm:pt modelId="{C644D47E-B7A3-4DAA-9FC3-988D7842FA1E}" type="pres">
      <dgm:prSet presAssocID="{AA80677E-6563-4858-90C6-AD8462EA1820}" presName="Name1" presStyleCnt="0"/>
      <dgm:spPr/>
    </dgm:pt>
    <dgm:pt modelId="{77E2F442-0550-49E2-B916-036A240F6F09}" type="pres">
      <dgm:prSet presAssocID="{AA80677E-6563-4858-90C6-AD8462EA1820}" presName="cycle" presStyleCnt="0"/>
      <dgm:spPr/>
    </dgm:pt>
    <dgm:pt modelId="{4ECCD7A1-71A5-4226-BA4A-CECEEB75DF23}" type="pres">
      <dgm:prSet presAssocID="{AA80677E-6563-4858-90C6-AD8462EA1820}" presName="srcNode" presStyleLbl="node1" presStyleIdx="0" presStyleCnt="7"/>
      <dgm:spPr/>
    </dgm:pt>
    <dgm:pt modelId="{6D6D39FF-FA19-4253-BC30-8EBE30408640}" type="pres">
      <dgm:prSet presAssocID="{AA80677E-6563-4858-90C6-AD8462EA1820}" presName="conn" presStyleLbl="parChTrans1D2" presStyleIdx="0" presStyleCnt="1"/>
      <dgm:spPr/>
    </dgm:pt>
    <dgm:pt modelId="{3246F21A-57D3-4248-BC91-D5E4FD1B8AA1}" type="pres">
      <dgm:prSet presAssocID="{AA80677E-6563-4858-90C6-AD8462EA1820}" presName="extraNode" presStyleLbl="node1" presStyleIdx="0" presStyleCnt="7"/>
      <dgm:spPr/>
    </dgm:pt>
    <dgm:pt modelId="{1F3A9C42-9069-4933-AF2F-DCB40602B338}" type="pres">
      <dgm:prSet presAssocID="{AA80677E-6563-4858-90C6-AD8462EA1820}" presName="dstNode" presStyleLbl="node1" presStyleIdx="0" presStyleCnt="7"/>
      <dgm:spPr/>
    </dgm:pt>
    <dgm:pt modelId="{A8F195E3-59B5-44A2-88E8-6615A5F1FF57}" type="pres">
      <dgm:prSet presAssocID="{C93EA07E-6C53-4DB2-9457-E27C42DE2305}" presName="text_1" presStyleLbl="node1" presStyleIdx="0" presStyleCnt="7">
        <dgm:presLayoutVars>
          <dgm:bulletEnabled val="1"/>
        </dgm:presLayoutVars>
      </dgm:prSet>
      <dgm:spPr/>
    </dgm:pt>
    <dgm:pt modelId="{CE7F5B3B-CD15-4447-AACC-0C179BE906EA}" type="pres">
      <dgm:prSet presAssocID="{C93EA07E-6C53-4DB2-9457-E27C42DE2305}" presName="accent_1" presStyleCnt="0"/>
      <dgm:spPr/>
    </dgm:pt>
    <dgm:pt modelId="{3F38539F-19DD-4939-B89F-F10688FFAC5D}" type="pres">
      <dgm:prSet presAssocID="{C93EA07E-6C53-4DB2-9457-E27C42DE2305}" presName="accentRepeatNode" presStyleLbl="solidFgAcc1" presStyleIdx="0" presStyleCnt="7"/>
      <dgm:spPr/>
    </dgm:pt>
    <dgm:pt modelId="{412AD02B-3B9D-44D3-A18A-1E93011253A4}" type="pres">
      <dgm:prSet presAssocID="{45740278-E3C1-4F0E-8936-A0B07146F58B}" presName="text_2" presStyleLbl="node1" presStyleIdx="1" presStyleCnt="7">
        <dgm:presLayoutVars>
          <dgm:bulletEnabled val="1"/>
        </dgm:presLayoutVars>
      </dgm:prSet>
      <dgm:spPr/>
    </dgm:pt>
    <dgm:pt modelId="{DB129006-1709-4FBB-98F9-61B255F67C9D}" type="pres">
      <dgm:prSet presAssocID="{45740278-E3C1-4F0E-8936-A0B07146F58B}" presName="accent_2" presStyleCnt="0"/>
      <dgm:spPr/>
    </dgm:pt>
    <dgm:pt modelId="{F036B57F-F926-45CA-9987-6C3971C2987A}" type="pres">
      <dgm:prSet presAssocID="{45740278-E3C1-4F0E-8936-A0B07146F58B}" presName="accentRepeatNode" presStyleLbl="solidFgAcc1" presStyleIdx="1" presStyleCnt="7"/>
      <dgm:spPr/>
    </dgm:pt>
    <dgm:pt modelId="{022BEDB5-5CB6-4F7E-9EB4-424A16466821}" type="pres">
      <dgm:prSet presAssocID="{76FA71D3-9563-4E29-A9CF-7AE93A86F628}" presName="text_3" presStyleLbl="node1" presStyleIdx="2" presStyleCnt="7">
        <dgm:presLayoutVars>
          <dgm:bulletEnabled val="1"/>
        </dgm:presLayoutVars>
      </dgm:prSet>
      <dgm:spPr/>
    </dgm:pt>
    <dgm:pt modelId="{3F29767B-4E79-471E-B9C7-D72CBD997104}" type="pres">
      <dgm:prSet presAssocID="{76FA71D3-9563-4E29-A9CF-7AE93A86F628}" presName="accent_3" presStyleCnt="0"/>
      <dgm:spPr/>
    </dgm:pt>
    <dgm:pt modelId="{0B9E893C-BE20-4B4C-8FF5-BB5B8A0F24D9}" type="pres">
      <dgm:prSet presAssocID="{76FA71D3-9563-4E29-A9CF-7AE93A86F628}" presName="accentRepeatNode" presStyleLbl="solidFgAcc1" presStyleIdx="2" presStyleCnt="7"/>
      <dgm:spPr/>
    </dgm:pt>
    <dgm:pt modelId="{E0B15544-8FD3-417C-9531-5030FAEAB169}" type="pres">
      <dgm:prSet presAssocID="{83853233-80C7-4665-9642-B8799E727D0F}" presName="text_4" presStyleLbl="node1" presStyleIdx="3" presStyleCnt="7">
        <dgm:presLayoutVars>
          <dgm:bulletEnabled val="1"/>
        </dgm:presLayoutVars>
      </dgm:prSet>
      <dgm:spPr/>
    </dgm:pt>
    <dgm:pt modelId="{D85CE54B-9E1C-4C5C-9ADD-FE622C596DEC}" type="pres">
      <dgm:prSet presAssocID="{83853233-80C7-4665-9642-B8799E727D0F}" presName="accent_4" presStyleCnt="0"/>
      <dgm:spPr/>
    </dgm:pt>
    <dgm:pt modelId="{4DD2BD01-4968-464D-A348-F3110C7BEC0C}" type="pres">
      <dgm:prSet presAssocID="{83853233-80C7-4665-9642-B8799E727D0F}" presName="accentRepeatNode" presStyleLbl="solidFgAcc1" presStyleIdx="3" presStyleCnt="7"/>
      <dgm:spPr/>
    </dgm:pt>
    <dgm:pt modelId="{ADE1A8D3-91DF-4CF6-B9E8-C988E433F6DE}" type="pres">
      <dgm:prSet presAssocID="{6F0C4E50-FBF5-47E1-8C9F-C899628EC34E}" presName="text_5" presStyleLbl="node1" presStyleIdx="4" presStyleCnt="7">
        <dgm:presLayoutVars>
          <dgm:bulletEnabled val="1"/>
        </dgm:presLayoutVars>
      </dgm:prSet>
      <dgm:spPr/>
    </dgm:pt>
    <dgm:pt modelId="{1B3787A3-CB6C-4318-AA3B-EA88F0111984}" type="pres">
      <dgm:prSet presAssocID="{6F0C4E50-FBF5-47E1-8C9F-C899628EC34E}" presName="accent_5" presStyleCnt="0"/>
      <dgm:spPr/>
    </dgm:pt>
    <dgm:pt modelId="{E83A9286-EA0F-4A07-97F7-BBB8C926E4A4}" type="pres">
      <dgm:prSet presAssocID="{6F0C4E50-FBF5-47E1-8C9F-C899628EC34E}" presName="accentRepeatNode" presStyleLbl="solidFgAcc1" presStyleIdx="4" presStyleCnt="7"/>
      <dgm:spPr/>
    </dgm:pt>
    <dgm:pt modelId="{97E5AE27-3DE7-4F58-9863-32E787E4E9CD}" type="pres">
      <dgm:prSet presAssocID="{F5100827-863B-45E5-9C3A-E7420C1580F9}" presName="text_6" presStyleLbl="node1" presStyleIdx="5" presStyleCnt="7">
        <dgm:presLayoutVars>
          <dgm:bulletEnabled val="1"/>
        </dgm:presLayoutVars>
      </dgm:prSet>
      <dgm:spPr/>
    </dgm:pt>
    <dgm:pt modelId="{EA38F728-A974-4741-BA53-E423967CD77E}" type="pres">
      <dgm:prSet presAssocID="{F5100827-863B-45E5-9C3A-E7420C1580F9}" presName="accent_6" presStyleCnt="0"/>
      <dgm:spPr/>
    </dgm:pt>
    <dgm:pt modelId="{B81380DA-F33A-4EC5-B44C-E8305F9D12D7}" type="pres">
      <dgm:prSet presAssocID="{F5100827-863B-45E5-9C3A-E7420C1580F9}" presName="accentRepeatNode" presStyleLbl="solidFgAcc1" presStyleIdx="5" presStyleCnt="7"/>
      <dgm:spPr/>
    </dgm:pt>
    <dgm:pt modelId="{346C442D-BD92-E94E-B463-6793899CD50C}" type="pres">
      <dgm:prSet presAssocID="{6E7828AC-02EA-8A4A-99AE-6EDED9F01A9C}" presName="text_7" presStyleLbl="node1" presStyleIdx="6" presStyleCnt="7">
        <dgm:presLayoutVars>
          <dgm:bulletEnabled val="1"/>
        </dgm:presLayoutVars>
      </dgm:prSet>
      <dgm:spPr/>
    </dgm:pt>
    <dgm:pt modelId="{EB4A37C7-8765-F840-A74B-4E9E914FF73E}" type="pres">
      <dgm:prSet presAssocID="{6E7828AC-02EA-8A4A-99AE-6EDED9F01A9C}" presName="accent_7" presStyleCnt="0"/>
      <dgm:spPr/>
    </dgm:pt>
    <dgm:pt modelId="{96BE7D2A-6EA9-CE44-8496-7E9E111E012A}" type="pres">
      <dgm:prSet presAssocID="{6E7828AC-02EA-8A4A-99AE-6EDED9F01A9C}" presName="accentRepeatNode" presStyleLbl="solidFgAcc1" presStyleIdx="6" presStyleCnt="7"/>
      <dgm:spPr/>
    </dgm:pt>
  </dgm:ptLst>
  <dgm:cxnLst>
    <dgm:cxn modelId="{49036819-88A5-4461-B313-425DBC175473}" srcId="{AA80677E-6563-4858-90C6-AD8462EA1820}" destId="{F5100827-863B-45E5-9C3A-E7420C1580F9}" srcOrd="5" destOrd="0" parTransId="{923D1957-3810-478E-BB77-6924427F7768}" sibTransId="{2B3D5692-C7A5-4F4A-8A3C-1B5B635D52C5}"/>
    <dgm:cxn modelId="{B230991F-5D2E-4741-B1C3-E8F455D914E8}" type="presOf" srcId="{AA80677E-6563-4858-90C6-AD8462EA1820}" destId="{EB868291-1135-4182-BEA5-F2395B555E80}" srcOrd="0" destOrd="0" presId="urn:microsoft.com/office/officeart/2008/layout/VerticalCurvedList"/>
    <dgm:cxn modelId="{F053A726-DFDF-4486-9A8C-CFB9E620EAF5}" type="presOf" srcId="{76FA71D3-9563-4E29-A9CF-7AE93A86F628}" destId="{022BEDB5-5CB6-4F7E-9EB4-424A16466821}" srcOrd="0" destOrd="0" presId="urn:microsoft.com/office/officeart/2008/layout/VerticalCurvedList"/>
    <dgm:cxn modelId="{23F53F42-D9B6-4226-866E-2BA5987FC45A}" srcId="{AA80677E-6563-4858-90C6-AD8462EA1820}" destId="{76FA71D3-9563-4E29-A9CF-7AE93A86F628}" srcOrd="2" destOrd="0" parTransId="{14A66864-CB4D-406B-B753-5C8C924CBC87}" sibTransId="{6CB65C4A-D043-4855-8602-F27D49C7B598}"/>
    <dgm:cxn modelId="{514D6A5F-35D2-5345-BD79-060CC93B9D0F}" type="presOf" srcId="{6E7828AC-02EA-8A4A-99AE-6EDED9F01A9C}" destId="{346C442D-BD92-E94E-B463-6793899CD50C}" srcOrd="0" destOrd="0" presId="urn:microsoft.com/office/officeart/2008/layout/VerticalCurvedList"/>
    <dgm:cxn modelId="{0FB56467-2C40-469D-8741-0F9ED9B8755F}" srcId="{AA80677E-6563-4858-90C6-AD8462EA1820}" destId="{6F0C4E50-FBF5-47E1-8C9F-C899628EC34E}" srcOrd="4" destOrd="0" parTransId="{85CE02A4-FEEE-411A-88E0-08C5F1D8FBE3}" sibTransId="{E0F22F15-D275-4095-8F3E-EE62C9588642}"/>
    <dgm:cxn modelId="{6C732B72-0C76-43D6-9AD5-6006F48CC4CD}" srcId="{AA80677E-6563-4858-90C6-AD8462EA1820}" destId="{45740278-E3C1-4F0E-8936-A0B07146F58B}" srcOrd="1" destOrd="0" parTransId="{0E309A4F-B13A-4886-A195-EC524EC21905}" sibTransId="{74831758-F724-487D-A7B5-164C7A01B2C1}"/>
    <dgm:cxn modelId="{FEB8AC72-12F8-794E-87DE-CA07CF587649}" srcId="{AA80677E-6563-4858-90C6-AD8462EA1820}" destId="{6E7828AC-02EA-8A4A-99AE-6EDED9F01A9C}" srcOrd="6" destOrd="0" parTransId="{2CE28E65-BF0D-B141-8CAB-A7709352D93B}" sibTransId="{54F9B438-929A-5347-B594-58DD029A923B}"/>
    <dgm:cxn modelId="{FA14027D-8268-47B3-B072-E6C0B1452AA9}" type="presOf" srcId="{6F0C4E50-FBF5-47E1-8C9F-C899628EC34E}" destId="{ADE1A8D3-91DF-4CF6-B9E8-C988E433F6DE}" srcOrd="0" destOrd="0" presId="urn:microsoft.com/office/officeart/2008/layout/VerticalCurvedList"/>
    <dgm:cxn modelId="{6131E885-8CBB-42E3-A435-14DE070FBA79}" srcId="{AA80677E-6563-4858-90C6-AD8462EA1820}" destId="{C93EA07E-6C53-4DB2-9457-E27C42DE2305}" srcOrd="0" destOrd="0" parTransId="{E89453FA-D2FF-4B6C-96BD-ACD110414D45}" sibTransId="{3D50F9CF-BB7E-493E-ADF7-9CDBC235B93C}"/>
    <dgm:cxn modelId="{52AF2788-92A4-4EEE-BE12-6FCA50C4010C}" type="presOf" srcId="{83853233-80C7-4665-9642-B8799E727D0F}" destId="{E0B15544-8FD3-417C-9531-5030FAEAB169}" srcOrd="0" destOrd="0" presId="urn:microsoft.com/office/officeart/2008/layout/VerticalCurvedList"/>
    <dgm:cxn modelId="{D142028A-B0A9-4BDF-BDFC-B026FFE1C5E8}" type="presOf" srcId="{45740278-E3C1-4F0E-8936-A0B07146F58B}" destId="{412AD02B-3B9D-44D3-A18A-1E93011253A4}" srcOrd="0" destOrd="0" presId="urn:microsoft.com/office/officeart/2008/layout/VerticalCurvedList"/>
    <dgm:cxn modelId="{7B3B0995-6F6E-4F40-B128-B75EB1B60BB0}" type="presOf" srcId="{3D50F9CF-BB7E-493E-ADF7-9CDBC235B93C}" destId="{6D6D39FF-FA19-4253-BC30-8EBE30408640}" srcOrd="0" destOrd="0" presId="urn:microsoft.com/office/officeart/2008/layout/VerticalCurvedList"/>
    <dgm:cxn modelId="{3E5BCAB1-03AB-43C9-BACC-1C48E8480DB9}" type="presOf" srcId="{F5100827-863B-45E5-9C3A-E7420C1580F9}" destId="{97E5AE27-3DE7-4F58-9863-32E787E4E9CD}" srcOrd="0" destOrd="0" presId="urn:microsoft.com/office/officeart/2008/layout/VerticalCurvedList"/>
    <dgm:cxn modelId="{A84578C3-5194-4060-A38F-E188B0FCF5D8}" type="presOf" srcId="{C93EA07E-6C53-4DB2-9457-E27C42DE2305}" destId="{A8F195E3-59B5-44A2-88E8-6615A5F1FF57}" srcOrd="0" destOrd="0" presId="urn:microsoft.com/office/officeart/2008/layout/VerticalCurvedList"/>
    <dgm:cxn modelId="{F0BE18DA-5EF0-4465-81CE-84CCBFBB3C0B}" srcId="{AA80677E-6563-4858-90C6-AD8462EA1820}" destId="{83853233-80C7-4665-9642-B8799E727D0F}" srcOrd="3" destOrd="0" parTransId="{EA36EDF2-8A18-4EE5-9A85-71B45D604AE3}" sibTransId="{71133969-977A-41D9-80B3-AA8DF758B259}"/>
    <dgm:cxn modelId="{B02C9528-BE61-4D88-A070-C371718CDECA}" type="presParOf" srcId="{EB868291-1135-4182-BEA5-F2395B555E80}" destId="{C644D47E-B7A3-4DAA-9FC3-988D7842FA1E}" srcOrd="0" destOrd="0" presId="urn:microsoft.com/office/officeart/2008/layout/VerticalCurvedList"/>
    <dgm:cxn modelId="{28667D4A-7771-4368-9C16-8F34C7357771}" type="presParOf" srcId="{C644D47E-B7A3-4DAA-9FC3-988D7842FA1E}" destId="{77E2F442-0550-49E2-B916-036A240F6F09}" srcOrd="0" destOrd="0" presId="urn:microsoft.com/office/officeart/2008/layout/VerticalCurvedList"/>
    <dgm:cxn modelId="{61924B3C-0AEE-4A41-8C42-F326BCDA89D6}" type="presParOf" srcId="{77E2F442-0550-49E2-B916-036A240F6F09}" destId="{4ECCD7A1-71A5-4226-BA4A-CECEEB75DF23}" srcOrd="0" destOrd="0" presId="urn:microsoft.com/office/officeart/2008/layout/VerticalCurvedList"/>
    <dgm:cxn modelId="{E8121521-0639-4518-B1CE-6F8256C1DD8E}" type="presParOf" srcId="{77E2F442-0550-49E2-B916-036A240F6F09}" destId="{6D6D39FF-FA19-4253-BC30-8EBE30408640}" srcOrd="1" destOrd="0" presId="urn:microsoft.com/office/officeart/2008/layout/VerticalCurvedList"/>
    <dgm:cxn modelId="{30A42415-ADA8-45B2-9FB4-99F98752A275}" type="presParOf" srcId="{77E2F442-0550-49E2-B916-036A240F6F09}" destId="{3246F21A-57D3-4248-BC91-D5E4FD1B8AA1}" srcOrd="2" destOrd="0" presId="urn:microsoft.com/office/officeart/2008/layout/VerticalCurvedList"/>
    <dgm:cxn modelId="{7F067B79-DC82-4B4F-BB3D-AC9A1EB04D4A}" type="presParOf" srcId="{77E2F442-0550-49E2-B916-036A240F6F09}" destId="{1F3A9C42-9069-4933-AF2F-DCB40602B338}" srcOrd="3" destOrd="0" presId="urn:microsoft.com/office/officeart/2008/layout/VerticalCurvedList"/>
    <dgm:cxn modelId="{292CF4C6-74C1-4B78-9C7F-DB8F8FCD6B4B}" type="presParOf" srcId="{C644D47E-B7A3-4DAA-9FC3-988D7842FA1E}" destId="{A8F195E3-59B5-44A2-88E8-6615A5F1FF57}" srcOrd="1" destOrd="0" presId="urn:microsoft.com/office/officeart/2008/layout/VerticalCurvedList"/>
    <dgm:cxn modelId="{354B39A5-86BD-49C1-926B-BAC5EDFA258C}" type="presParOf" srcId="{C644D47E-B7A3-4DAA-9FC3-988D7842FA1E}" destId="{CE7F5B3B-CD15-4447-AACC-0C179BE906EA}" srcOrd="2" destOrd="0" presId="urn:microsoft.com/office/officeart/2008/layout/VerticalCurvedList"/>
    <dgm:cxn modelId="{233CFE41-7E15-4397-8DCD-9DC743B61BB5}" type="presParOf" srcId="{CE7F5B3B-CD15-4447-AACC-0C179BE906EA}" destId="{3F38539F-19DD-4939-B89F-F10688FFAC5D}" srcOrd="0" destOrd="0" presId="urn:microsoft.com/office/officeart/2008/layout/VerticalCurvedList"/>
    <dgm:cxn modelId="{E0E3EDC8-4321-4312-8E37-37985559C751}" type="presParOf" srcId="{C644D47E-B7A3-4DAA-9FC3-988D7842FA1E}" destId="{412AD02B-3B9D-44D3-A18A-1E93011253A4}" srcOrd="3" destOrd="0" presId="urn:microsoft.com/office/officeart/2008/layout/VerticalCurvedList"/>
    <dgm:cxn modelId="{41E5283A-CB2A-4E8B-9686-81844D8FDB52}" type="presParOf" srcId="{C644D47E-B7A3-4DAA-9FC3-988D7842FA1E}" destId="{DB129006-1709-4FBB-98F9-61B255F67C9D}" srcOrd="4" destOrd="0" presId="urn:microsoft.com/office/officeart/2008/layout/VerticalCurvedList"/>
    <dgm:cxn modelId="{A5E915AA-B809-4213-B228-BA6BB4E69829}" type="presParOf" srcId="{DB129006-1709-4FBB-98F9-61B255F67C9D}" destId="{F036B57F-F926-45CA-9987-6C3971C2987A}" srcOrd="0" destOrd="0" presId="urn:microsoft.com/office/officeart/2008/layout/VerticalCurvedList"/>
    <dgm:cxn modelId="{B542B7F6-1759-4CFA-8707-9DFE0AA76533}" type="presParOf" srcId="{C644D47E-B7A3-4DAA-9FC3-988D7842FA1E}" destId="{022BEDB5-5CB6-4F7E-9EB4-424A16466821}" srcOrd="5" destOrd="0" presId="urn:microsoft.com/office/officeart/2008/layout/VerticalCurvedList"/>
    <dgm:cxn modelId="{411EFBF9-ACA1-40C1-89E0-B2C968FE71CE}" type="presParOf" srcId="{C644D47E-B7A3-4DAA-9FC3-988D7842FA1E}" destId="{3F29767B-4E79-471E-B9C7-D72CBD997104}" srcOrd="6" destOrd="0" presId="urn:microsoft.com/office/officeart/2008/layout/VerticalCurvedList"/>
    <dgm:cxn modelId="{B9E4A0FD-B0A8-478C-84CB-199A852821AB}" type="presParOf" srcId="{3F29767B-4E79-471E-B9C7-D72CBD997104}" destId="{0B9E893C-BE20-4B4C-8FF5-BB5B8A0F24D9}" srcOrd="0" destOrd="0" presId="urn:microsoft.com/office/officeart/2008/layout/VerticalCurvedList"/>
    <dgm:cxn modelId="{C0745F6B-01C3-4C06-8FC4-114FC8910BA7}" type="presParOf" srcId="{C644D47E-B7A3-4DAA-9FC3-988D7842FA1E}" destId="{E0B15544-8FD3-417C-9531-5030FAEAB169}" srcOrd="7" destOrd="0" presId="urn:microsoft.com/office/officeart/2008/layout/VerticalCurvedList"/>
    <dgm:cxn modelId="{B34A3DE2-8BF3-4D40-8FBA-DDEF8AC3EDDD}" type="presParOf" srcId="{C644D47E-B7A3-4DAA-9FC3-988D7842FA1E}" destId="{D85CE54B-9E1C-4C5C-9ADD-FE622C596DEC}" srcOrd="8" destOrd="0" presId="urn:microsoft.com/office/officeart/2008/layout/VerticalCurvedList"/>
    <dgm:cxn modelId="{C5A9225C-B4DB-4936-AAF8-C399578B3301}" type="presParOf" srcId="{D85CE54B-9E1C-4C5C-9ADD-FE622C596DEC}" destId="{4DD2BD01-4968-464D-A348-F3110C7BEC0C}" srcOrd="0" destOrd="0" presId="urn:microsoft.com/office/officeart/2008/layout/VerticalCurvedList"/>
    <dgm:cxn modelId="{C40D7CCF-1470-4128-BFCA-09C9BBA36830}" type="presParOf" srcId="{C644D47E-B7A3-4DAA-9FC3-988D7842FA1E}" destId="{ADE1A8D3-91DF-4CF6-B9E8-C988E433F6DE}" srcOrd="9" destOrd="0" presId="urn:microsoft.com/office/officeart/2008/layout/VerticalCurvedList"/>
    <dgm:cxn modelId="{C55136BA-9569-435D-9AD7-F0E856FF6C84}" type="presParOf" srcId="{C644D47E-B7A3-4DAA-9FC3-988D7842FA1E}" destId="{1B3787A3-CB6C-4318-AA3B-EA88F0111984}" srcOrd="10" destOrd="0" presId="urn:microsoft.com/office/officeart/2008/layout/VerticalCurvedList"/>
    <dgm:cxn modelId="{0E28966D-E16A-47AF-8CCA-9D75591F0A3E}" type="presParOf" srcId="{1B3787A3-CB6C-4318-AA3B-EA88F0111984}" destId="{E83A9286-EA0F-4A07-97F7-BBB8C926E4A4}" srcOrd="0" destOrd="0" presId="urn:microsoft.com/office/officeart/2008/layout/VerticalCurvedList"/>
    <dgm:cxn modelId="{FAF84472-839A-4C64-8DEA-158380AB308D}" type="presParOf" srcId="{C644D47E-B7A3-4DAA-9FC3-988D7842FA1E}" destId="{97E5AE27-3DE7-4F58-9863-32E787E4E9CD}" srcOrd="11" destOrd="0" presId="urn:microsoft.com/office/officeart/2008/layout/VerticalCurvedList"/>
    <dgm:cxn modelId="{218CB64F-6F5F-4C87-82D4-A5C74D817145}" type="presParOf" srcId="{C644D47E-B7A3-4DAA-9FC3-988D7842FA1E}" destId="{EA38F728-A974-4741-BA53-E423967CD77E}" srcOrd="12" destOrd="0" presId="urn:microsoft.com/office/officeart/2008/layout/VerticalCurvedList"/>
    <dgm:cxn modelId="{7EC11F49-795C-4B5C-B08F-DABE43394CC1}" type="presParOf" srcId="{EA38F728-A974-4741-BA53-E423967CD77E}" destId="{B81380DA-F33A-4EC5-B44C-E8305F9D12D7}" srcOrd="0" destOrd="0" presId="urn:microsoft.com/office/officeart/2008/layout/VerticalCurvedList"/>
    <dgm:cxn modelId="{15A03949-FA0F-FE47-BA64-A1F159640D09}" type="presParOf" srcId="{C644D47E-B7A3-4DAA-9FC3-988D7842FA1E}" destId="{346C442D-BD92-E94E-B463-6793899CD50C}" srcOrd="13" destOrd="0" presId="urn:microsoft.com/office/officeart/2008/layout/VerticalCurvedList"/>
    <dgm:cxn modelId="{DC3F4DB7-DAA6-3348-9B8C-3F5AB3C4E6ED}" type="presParOf" srcId="{C644D47E-B7A3-4DAA-9FC3-988D7842FA1E}" destId="{EB4A37C7-8765-F840-A74B-4E9E914FF73E}" srcOrd="14" destOrd="0" presId="urn:microsoft.com/office/officeart/2008/layout/VerticalCurvedList"/>
    <dgm:cxn modelId="{68A90EFD-E73E-4E4E-B61E-B7233704E137}" type="presParOf" srcId="{EB4A37C7-8765-F840-A74B-4E9E914FF73E}" destId="{96BE7D2A-6EA9-CE44-8496-7E9E111E012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B01F11-1DE7-4C0D-9111-6A5CC350DDDA}" type="doc">
      <dgm:prSet loTypeId="urn:microsoft.com/office/officeart/2005/8/layout/hList7" loCatId="list" qsTypeId="urn:microsoft.com/office/officeart/2005/8/quickstyle/simple4" qsCatId="simple" csTypeId="urn:microsoft.com/office/officeart/2005/8/colors/colorful2" csCatId="colorful" phldr="1"/>
      <dgm:spPr/>
      <dgm:t>
        <a:bodyPr/>
        <a:lstStyle/>
        <a:p>
          <a:endParaRPr lang="en-IN"/>
        </a:p>
      </dgm:t>
    </dgm:pt>
    <dgm:pt modelId="{11A67066-A150-4E3B-AAEF-4B218D8D08AB}">
      <dgm:prSet/>
      <dgm:spPr/>
      <dgm:t>
        <a:bodyPr/>
        <a:lstStyle/>
        <a:p>
          <a:r>
            <a:rPr lang="en-IN" b="0" i="0" baseline="0" dirty="0"/>
            <a:t>Scalability </a:t>
          </a:r>
          <a:endParaRPr lang="en-IN" dirty="0"/>
        </a:p>
      </dgm:t>
    </dgm:pt>
    <dgm:pt modelId="{B5427518-11D2-4071-B153-BE1AD683CE5B}" type="parTrans" cxnId="{84E82A08-0144-47D7-B9AD-3A819D128BCB}">
      <dgm:prSet/>
      <dgm:spPr/>
      <dgm:t>
        <a:bodyPr/>
        <a:lstStyle/>
        <a:p>
          <a:endParaRPr lang="en-IN"/>
        </a:p>
      </dgm:t>
    </dgm:pt>
    <dgm:pt modelId="{1E8693EB-70C4-4DC0-A962-36945B867474}" type="sibTrans" cxnId="{84E82A08-0144-47D7-B9AD-3A819D128BCB}">
      <dgm:prSet/>
      <dgm:spPr/>
      <dgm:t>
        <a:bodyPr/>
        <a:lstStyle/>
        <a:p>
          <a:endParaRPr lang="en-IN"/>
        </a:p>
      </dgm:t>
    </dgm:pt>
    <dgm:pt modelId="{C7FF50F5-EC52-42D0-BB32-E58613FEF276}">
      <dgm:prSet/>
      <dgm:spPr/>
      <dgm:t>
        <a:bodyPr/>
        <a:lstStyle/>
        <a:p>
          <a:r>
            <a:rPr lang="en-IN" b="0" i="0" baseline="0" dirty="0"/>
            <a:t>Availability</a:t>
          </a:r>
          <a:endParaRPr lang="en-IN" dirty="0"/>
        </a:p>
      </dgm:t>
    </dgm:pt>
    <dgm:pt modelId="{24A41DCC-D08C-4E45-A607-240FE5D780C0}" type="parTrans" cxnId="{E644DE0B-A317-4B71-B177-A906C54EF9C2}">
      <dgm:prSet/>
      <dgm:spPr/>
      <dgm:t>
        <a:bodyPr/>
        <a:lstStyle/>
        <a:p>
          <a:endParaRPr lang="en-IN"/>
        </a:p>
      </dgm:t>
    </dgm:pt>
    <dgm:pt modelId="{2C89C07E-8CFD-4D6D-84B5-0A7B485621C9}" type="sibTrans" cxnId="{E644DE0B-A317-4B71-B177-A906C54EF9C2}">
      <dgm:prSet/>
      <dgm:spPr/>
      <dgm:t>
        <a:bodyPr/>
        <a:lstStyle/>
        <a:p>
          <a:endParaRPr lang="en-IN"/>
        </a:p>
      </dgm:t>
    </dgm:pt>
    <dgm:pt modelId="{ACA237FC-A0B5-463A-9B12-C9B95985D7E9}">
      <dgm:prSet/>
      <dgm:spPr/>
      <dgm:t>
        <a:bodyPr/>
        <a:lstStyle/>
        <a:p>
          <a:r>
            <a:rPr lang="en-IN" b="0" i="0" baseline="0" dirty="0"/>
            <a:t>Resiliency</a:t>
          </a:r>
          <a:endParaRPr lang="en-IN" dirty="0"/>
        </a:p>
      </dgm:t>
    </dgm:pt>
    <dgm:pt modelId="{E36D8B16-7D61-4867-BCB5-1F9B95F4895E}" type="parTrans" cxnId="{54A7D46E-02AF-4F24-A29A-87015C3BEB65}">
      <dgm:prSet/>
      <dgm:spPr/>
      <dgm:t>
        <a:bodyPr/>
        <a:lstStyle/>
        <a:p>
          <a:endParaRPr lang="en-IN"/>
        </a:p>
      </dgm:t>
    </dgm:pt>
    <dgm:pt modelId="{4A24F2E0-E615-4A7F-A094-75ACD943BBEE}" type="sibTrans" cxnId="{54A7D46E-02AF-4F24-A29A-87015C3BEB65}">
      <dgm:prSet/>
      <dgm:spPr/>
      <dgm:t>
        <a:bodyPr/>
        <a:lstStyle/>
        <a:p>
          <a:endParaRPr lang="en-IN"/>
        </a:p>
      </dgm:t>
    </dgm:pt>
    <dgm:pt modelId="{98403820-492C-4A1E-A7AC-9A6CD265F9C1}">
      <dgm:prSet/>
      <dgm:spPr/>
      <dgm:t>
        <a:bodyPr/>
        <a:lstStyle/>
        <a:p>
          <a:r>
            <a:rPr lang="en-IN" b="0" i="0" baseline="0" dirty="0"/>
            <a:t>Management</a:t>
          </a:r>
          <a:endParaRPr lang="en-IN" dirty="0"/>
        </a:p>
      </dgm:t>
    </dgm:pt>
    <dgm:pt modelId="{9A1CF875-781E-4147-B043-F2C7F98EBCA0}" type="parTrans" cxnId="{218E4A0A-A937-4FEC-B104-F1A0034E8241}">
      <dgm:prSet/>
      <dgm:spPr/>
      <dgm:t>
        <a:bodyPr/>
        <a:lstStyle/>
        <a:p>
          <a:endParaRPr lang="en-IN"/>
        </a:p>
      </dgm:t>
    </dgm:pt>
    <dgm:pt modelId="{AD6C17FF-8DE0-448E-8791-4F4A4C96D05B}" type="sibTrans" cxnId="{218E4A0A-A937-4FEC-B104-F1A0034E8241}">
      <dgm:prSet/>
      <dgm:spPr/>
      <dgm:t>
        <a:bodyPr/>
        <a:lstStyle/>
        <a:p>
          <a:endParaRPr lang="en-IN"/>
        </a:p>
      </dgm:t>
    </dgm:pt>
    <dgm:pt modelId="{12E2325F-0BBF-45BA-8D7A-199994019038}">
      <dgm:prSet/>
      <dgm:spPr/>
      <dgm:t>
        <a:bodyPr/>
        <a:lstStyle/>
        <a:p>
          <a:r>
            <a:rPr lang="en-IN" b="0" i="0" baseline="0" dirty="0"/>
            <a:t>Security </a:t>
          </a:r>
          <a:endParaRPr lang="en-IN" dirty="0"/>
        </a:p>
      </dgm:t>
    </dgm:pt>
    <dgm:pt modelId="{F2C7E829-B6E3-4C46-929D-9D33ACC6B8BF}" type="parTrans" cxnId="{94A229A3-58EE-4A76-904A-634ABBB6F897}">
      <dgm:prSet/>
      <dgm:spPr/>
      <dgm:t>
        <a:bodyPr/>
        <a:lstStyle/>
        <a:p>
          <a:endParaRPr lang="en-IN"/>
        </a:p>
      </dgm:t>
    </dgm:pt>
    <dgm:pt modelId="{F9C003DB-378A-48B9-92FF-8860C3C34737}" type="sibTrans" cxnId="{94A229A3-58EE-4A76-904A-634ABBB6F897}">
      <dgm:prSet/>
      <dgm:spPr/>
      <dgm:t>
        <a:bodyPr/>
        <a:lstStyle/>
        <a:p>
          <a:endParaRPr lang="en-IN"/>
        </a:p>
      </dgm:t>
    </dgm:pt>
    <dgm:pt modelId="{1AA00590-9C0B-463D-B799-404B62E42FBA}" type="pres">
      <dgm:prSet presAssocID="{8CB01F11-1DE7-4C0D-9111-6A5CC350DDDA}" presName="Name0" presStyleCnt="0">
        <dgm:presLayoutVars>
          <dgm:dir/>
          <dgm:resizeHandles val="exact"/>
        </dgm:presLayoutVars>
      </dgm:prSet>
      <dgm:spPr/>
    </dgm:pt>
    <dgm:pt modelId="{C16419E3-4341-470F-865F-C68D126B3466}" type="pres">
      <dgm:prSet presAssocID="{8CB01F11-1DE7-4C0D-9111-6A5CC350DDDA}" presName="fgShape" presStyleLbl="fgShp" presStyleIdx="0" presStyleCnt="1"/>
      <dgm:spPr/>
    </dgm:pt>
    <dgm:pt modelId="{3E4FC0E8-DB1B-4EE9-8C82-CA4123FE86E7}" type="pres">
      <dgm:prSet presAssocID="{8CB01F11-1DE7-4C0D-9111-6A5CC350DDDA}" presName="linComp" presStyleCnt="0"/>
      <dgm:spPr/>
    </dgm:pt>
    <dgm:pt modelId="{7B48B35F-59EE-45CB-964F-2E5F9259B6F9}" type="pres">
      <dgm:prSet presAssocID="{11A67066-A150-4E3B-AAEF-4B218D8D08AB}" presName="compNode" presStyleCnt="0"/>
      <dgm:spPr/>
    </dgm:pt>
    <dgm:pt modelId="{A7FB95B5-3E2E-42C8-8FD5-DEF181CA1143}" type="pres">
      <dgm:prSet presAssocID="{11A67066-A150-4E3B-AAEF-4B218D8D08AB}" presName="bkgdShape" presStyleLbl="node1" presStyleIdx="0" presStyleCnt="5"/>
      <dgm:spPr/>
    </dgm:pt>
    <dgm:pt modelId="{0B569A47-C8A0-483D-A700-C27D8A9C70D9}" type="pres">
      <dgm:prSet presAssocID="{11A67066-A150-4E3B-AAEF-4B218D8D08AB}" presName="nodeTx" presStyleLbl="node1" presStyleIdx="0" presStyleCnt="5">
        <dgm:presLayoutVars>
          <dgm:bulletEnabled val="1"/>
        </dgm:presLayoutVars>
      </dgm:prSet>
      <dgm:spPr/>
    </dgm:pt>
    <dgm:pt modelId="{CEDEFFF2-E324-46DD-BA74-451C6906CFF5}" type="pres">
      <dgm:prSet presAssocID="{11A67066-A150-4E3B-AAEF-4B218D8D08AB}" presName="invisiNode" presStyleLbl="node1" presStyleIdx="0" presStyleCnt="5"/>
      <dgm:spPr/>
    </dgm:pt>
    <dgm:pt modelId="{7A8819FB-6721-4EBD-8507-23574D424A79}" type="pres">
      <dgm:prSet presAssocID="{11A67066-A150-4E3B-AAEF-4B218D8D08AB}" presName="imagNode" presStyleLbl="fgImgPlace1" presStyleIdx="0" presStyleCnt="5"/>
      <dgm:spPr>
        <a:blipFill dpi="0" rotWithShape="1">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dgm:spPr>
    </dgm:pt>
    <dgm:pt modelId="{638994DA-5E22-414E-A784-F80CD2AB9C8A}" type="pres">
      <dgm:prSet presAssocID="{1E8693EB-70C4-4DC0-A962-36945B867474}" presName="sibTrans" presStyleLbl="sibTrans2D1" presStyleIdx="0" presStyleCnt="0"/>
      <dgm:spPr/>
    </dgm:pt>
    <dgm:pt modelId="{EADE913A-A970-4F0A-8EC1-E1A24516D74E}" type="pres">
      <dgm:prSet presAssocID="{C7FF50F5-EC52-42D0-BB32-E58613FEF276}" presName="compNode" presStyleCnt="0"/>
      <dgm:spPr/>
    </dgm:pt>
    <dgm:pt modelId="{E587BF7C-09B4-47E2-84D5-E9D725285A30}" type="pres">
      <dgm:prSet presAssocID="{C7FF50F5-EC52-42D0-BB32-E58613FEF276}" presName="bkgdShape" presStyleLbl="node1" presStyleIdx="1" presStyleCnt="5"/>
      <dgm:spPr/>
    </dgm:pt>
    <dgm:pt modelId="{992CFC02-D761-49D7-A1E8-96518D5F6A59}" type="pres">
      <dgm:prSet presAssocID="{C7FF50F5-EC52-42D0-BB32-E58613FEF276}" presName="nodeTx" presStyleLbl="node1" presStyleIdx="1" presStyleCnt="5">
        <dgm:presLayoutVars>
          <dgm:bulletEnabled val="1"/>
        </dgm:presLayoutVars>
      </dgm:prSet>
      <dgm:spPr/>
    </dgm:pt>
    <dgm:pt modelId="{723626F3-7EE4-4389-B561-45E233F730E0}" type="pres">
      <dgm:prSet presAssocID="{C7FF50F5-EC52-42D0-BB32-E58613FEF276}" presName="invisiNode" presStyleLbl="node1" presStyleIdx="1" presStyleCnt="5"/>
      <dgm:spPr/>
    </dgm:pt>
    <dgm:pt modelId="{275E11E1-F034-47FE-949D-FA541FF4B957}" type="pres">
      <dgm:prSet presAssocID="{C7FF50F5-EC52-42D0-BB32-E58613FEF276}" presName="imagNode" presStyleLbl="fgImgPlace1" presStyleIdx="1"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l="-49000" r="-49000"/>
          </a:stretch>
        </a:blipFill>
      </dgm:spPr>
    </dgm:pt>
    <dgm:pt modelId="{53644F08-CA74-4CF8-B382-405502BE8957}" type="pres">
      <dgm:prSet presAssocID="{2C89C07E-8CFD-4D6D-84B5-0A7B485621C9}" presName="sibTrans" presStyleLbl="sibTrans2D1" presStyleIdx="0" presStyleCnt="0"/>
      <dgm:spPr/>
    </dgm:pt>
    <dgm:pt modelId="{0BEDACCF-D644-4B76-AADA-76B3C1048A59}" type="pres">
      <dgm:prSet presAssocID="{ACA237FC-A0B5-463A-9B12-C9B95985D7E9}" presName="compNode" presStyleCnt="0"/>
      <dgm:spPr/>
    </dgm:pt>
    <dgm:pt modelId="{8B655592-E5B8-4257-A057-7F4602224DEE}" type="pres">
      <dgm:prSet presAssocID="{ACA237FC-A0B5-463A-9B12-C9B95985D7E9}" presName="bkgdShape" presStyleLbl="node1" presStyleIdx="2" presStyleCnt="5"/>
      <dgm:spPr/>
    </dgm:pt>
    <dgm:pt modelId="{9B0679AF-93EF-418D-BE7C-F2AFE12C5456}" type="pres">
      <dgm:prSet presAssocID="{ACA237FC-A0B5-463A-9B12-C9B95985D7E9}" presName="nodeTx" presStyleLbl="node1" presStyleIdx="2" presStyleCnt="5">
        <dgm:presLayoutVars>
          <dgm:bulletEnabled val="1"/>
        </dgm:presLayoutVars>
      </dgm:prSet>
      <dgm:spPr/>
    </dgm:pt>
    <dgm:pt modelId="{8CFFE1BC-09B2-4CFC-A1C3-0256F74C71B9}" type="pres">
      <dgm:prSet presAssocID="{ACA237FC-A0B5-463A-9B12-C9B95985D7E9}" presName="invisiNode" presStyleLbl="node1" presStyleIdx="2" presStyleCnt="5"/>
      <dgm:spPr/>
    </dgm:pt>
    <dgm:pt modelId="{032E556F-1611-4CBB-9FB6-2A9DF0194E6C}" type="pres">
      <dgm:prSet presAssocID="{ACA237FC-A0B5-463A-9B12-C9B95985D7E9}" presName="imagNode" presStyleLbl="fgImgPlace1" presStyleIdx="2"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pt>
    <dgm:pt modelId="{A7DFA4FA-D17D-4442-AD65-3B9533DC530A}" type="pres">
      <dgm:prSet presAssocID="{4A24F2E0-E615-4A7F-A094-75ACD943BBEE}" presName="sibTrans" presStyleLbl="sibTrans2D1" presStyleIdx="0" presStyleCnt="0"/>
      <dgm:spPr/>
    </dgm:pt>
    <dgm:pt modelId="{099A6D5E-EB36-4EAB-B2BF-C916DE2E688D}" type="pres">
      <dgm:prSet presAssocID="{98403820-492C-4A1E-A7AC-9A6CD265F9C1}" presName="compNode" presStyleCnt="0"/>
      <dgm:spPr/>
    </dgm:pt>
    <dgm:pt modelId="{4C9BCA02-1E57-4B00-9F34-AA94038BAC72}" type="pres">
      <dgm:prSet presAssocID="{98403820-492C-4A1E-A7AC-9A6CD265F9C1}" presName="bkgdShape" presStyleLbl="node1" presStyleIdx="3" presStyleCnt="5"/>
      <dgm:spPr/>
    </dgm:pt>
    <dgm:pt modelId="{59079FDD-C60E-4AF0-9AB5-922F5BE55843}" type="pres">
      <dgm:prSet presAssocID="{98403820-492C-4A1E-A7AC-9A6CD265F9C1}" presName="nodeTx" presStyleLbl="node1" presStyleIdx="3" presStyleCnt="5">
        <dgm:presLayoutVars>
          <dgm:bulletEnabled val="1"/>
        </dgm:presLayoutVars>
      </dgm:prSet>
      <dgm:spPr/>
    </dgm:pt>
    <dgm:pt modelId="{A6373DA5-4C8F-4868-B666-70DCF07E0508}" type="pres">
      <dgm:prSet presAssocID="{98403820-492C-4A1E-A7AC-9A6CD265F9C1}" presName="invisiNode" presStyleLbl="node1" presStyleIdx="3" presStyleCnt="5"/>
      <dgm:spPr/>
    </dgm:pt>
    <dgm:pt modelId="{42F1935E-9B3C-4B2B-B59E-EEE1DF4BAD57}" type="pres">
      <dgm:prSet presAssocID="{98403820-492C-4A1E-A7AC-9A6CD265F9C1}" presName="imagNode" presStyleLbl="fgImgPlace1" presStyleIdx="3"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22000" r="-22000"/>
          </a:stretch>
        </a:blipFill>
      </dgm:spPr>
    </dgm:pt>
    <dgm:pt modelId="{D2275237-0A3C-4D7F-92B9-22C0E1FD9B01}" type="pres">
      <dgm:prSet presAssocID="{AD6C17FF-8DE0-448E-8791-4F4A4C96D05B}" presName="sibTrans" presStyleLbl="sibTrans2D1" presStyleIdx="0" presStyleCnt="0"/>
      <dgm:spPr/>
    </dgm:pt>
    <dgm:pt modelId="{5B3ADEEF-FBE8-4858-BABB-70EBA9F6977A}" type="pres">
      <dgm:prSet presAssocID="{12E2325F-0BBF-45BA-8D7A-199994019038}" presName="compNode" presStyleCnt="0"/>
      <dgm:spPr/>
    </dgm:pt>
    <dgm:pt modelId="{91DAA98C-C656-4330-B488-A43842493031}" type="pres">
      <dgm:prSet presAssocID="{12E2325F-0BBF-45BA-8D7A-199994019038}" presName="bkgdShape" presStyleLbl="node1" presStyleIdx="4" presStyleCnt="5"/>
      <dgm:spPr/>
    </dgm:pt>
    <dgm:pt modelId="{F0A21E7D-BC46-47AE-A314-FF05C0B5AE04}" type="pres">
      <dgm:prSet presAssocID="{12E2325F-0BBF-45BA-8D7A-199994019038}" presName="nodeTx" presStyleLbl="node1" presStyleIdx="4" presStyleCnt="5">
        <dgm:presLayoutVars>
          <dgm:bulletEnabled val="1"/>
        </dgm:presLayoutVars>
      </dgm:prSet>
      <dgm:spPr/>
    </dgm:pt>
    <dgm:pt modelId="{77A071F0-94E8-4A3B-AE02-487C08CE2C64}" type="pres">
      <dgm:prSet presAssocID="{12E2325F-0BBF-45BA-8D7A-199994019038}" presName="invisiNode" presStyleLbl="node1" presStyleIdx="4" presStyleCnt="5"/>
      <dgm:spPr/>
    </dgm:pt>
    <dgm:pt modelId="{02A7216A-0C7E-4A83-BCB6-9C97C7D60641}" type="pres">
      <dgm:prSet presAssocID="{12E2325F-0BBF-45BA-8D7A-199994019038}" presName="imagNode" presStyleLbl="fgImgPlace1" presStyleIdx="4" presStyleCnt="5"/>
      <dgm:spPr>
        <a:blipFill>
          <a:blip xmlns:r="http://schemas.openxmlformats.org/officeDocument/2006/relationships" r:embed="rId6">
            <a:extLst>
              <a:ext uri="{28A0092B-C50C-407E-A947-70E740481C1C}">
                <a14:useLocalDpi xmlns:a14="http://schemas.microsoft.com/office/drawing/2010/main" val="0"/>
              </a:ext>
            </a:extLst>
          </a:blip>
          <a:srcRect/>
          <a:stretch>
            <a:fillRect l="-39000" r="-39000"/>
          </a:stretch>
        </a:blipFill>
      </dgm:spPr>
    </dgm:pt>
  </dgm:ptLst>
  <dgm:cxnLst>
    <dgm:cxn modelId="{84E82A08-0144-47D7-B9AD-3A819D128BCB}" srcId="{8CB01F11-1DE7-4C0D-9111-6A5CC350DDDA}" destId="{11A67066-A150-4E3B-AAEF-4B218D8D08AB}" srcOrd="0" destOrd="0" parTransId="{B5427518-11D2-4071-B153-BE1AD683CE5B}" sibTransId="{1E8693EB-70C4-4DC0-A962-36945B867474}"/>
    <dgm:cxn modelId="{A7BD310A-5F90-4073-BF04-FE88558BF1E1}" type="presOf" srcId="{98403820-492C-4A1E-A7AC-9A6CD265F9C1}" destId="{59079FDD-C60E-4AF0-9AB5-922F5BE55843}" srcOrd="1" destOrd="0" presId="urn:microsoft.com/office/officeart/2005/8/layout/hList7"/>
    <dgm:cxn modelId="{218E4A0A-A937-4FEC-B104-F1A0034E8241}" srcId="{8CB01F11-1DE7-4C0D-9111-6A5CC350DDDA}" destId="{98403820-492C-4A1E-A7AC-9A6CD265F9C1}" srcOrd="3" destOrd="0" parTransId="{9A1CF875-781E-4147-B043-F2C7F98EBCA0}" sibTransId="{AD6C17FF-8DE0-448E-8791-4F4A4C96D05B}"/>
    <dgm:cxn modelId="{E644DE0B-A317-4B71-B177-A906C54EF9C2}" srcId="{8CB01F11-1DE7-4C0D-9111-6A5CC350DDDA}" destId="{C7FF50F5-EC52-42D0-BB32-E58613FEF276}" srcOrd="1" destOrd="0" parTransId="{24A41DCC-D08C-4E45-A607-240FE5D780C0}" sibTransId="{2C89C07E-8CFD-4D6D-84B5-0A7B485621C9}"/>
    <dgm:cxn modelId="{4E77190C-0A5F-4EB8-B497-5870D913DAFA}" type="presOf" srcId="{4A24F2E0-E615-4A7F-A094-75ACD943BBEE}" destId="{A7DFA4FA-D17D-4442-AD65-3B9533DC530A}" srcOrd="0" destOrd="0" presId="urn:microsoft.com/office/officeart/2005/8/layout/hList7"/>
    <dgm:cxn modelId="{A90E5E0F-1FE9-48CA-9C2E-C837C2EEB50C}" type="presOf" srcId="{11A67066-A150-4E3B-AAEF-4B218D8D08AB}" destId="{0B569A47-C8A0-483D-A700-C27D8A9C70D9}" srcOrd="1" destOrd="0" presId="urn:microsoft.com/office/officeart/2005/8/layout/hList7"/>
    <dgm:cxn modelId="{D7FF751E-BFAB-4B64-878F-1B6BB72EFE00}" type="presOf" srcId="{98403820-492C-4A1E-A7AC-9A6CD265F9C1}" destId="{4C9BCA02-1E57-4B00-9F34-AA94038BAC72}" srcOrd="0" destOrd="0" presId="urn:microsoft.com/office/officeart/2005/8/layout/hList7"/>
    <dgm:cxn modelId="{D35B1226-28A0-4388-B947-7833F6607F92}" type="presOf" srcId="{2C89C07E-8CFD-4D6D-84B5-0A7B485621C9}" destId="{53644F08-CA74-4CF8-B382-405502BE8957}" srcOrd="0" destOrd="0" presId="urn:microsoft.com/office/officeart/2005/8/layout/hList7"/>
    <dgm:cxn modelId="{2ED6992A-E9D4-45EF-9392-F1F78DE94324}" type="presOf" srcId="{ACA237FC-A0B5-463A-9B12-C9B95985D7E9}" destId="{9B0679AF-93EF-418D-BE7C-F2AFE12C5456}" srcOrd="1" destOrd="0" presId="urn:microsoft.com/office/officeart/2005/8/layout/hList7"/>
    <dgm:cxn modelId="{6364336E-9583-4D12-8AB4-06DDFDBF4C48}" type="presOf" srcId="{12E2325F-0BBF-45BA-8D7A-199994019038}" destId="{91DAA98C-C656-4330-B488-A43842493031}" srcOrd="0" destOrd="0" presId="urn:microsoft.com/office/officeart/2005/8/layout/hList7"/>
    <dgm:cxn modelId="{54A7D46E-02AF-4F24-A29A-87015C3BEB65}" srcId="{8CB01F11-1DE7-4C0D-9111-6A5CC350DDDA}" destId="{ACA237FC-A0B5-463A-9B12-C9B95985D7E9}" srcOrd="2" destOrd="0" parTransId="{E36D8B16-7D61-4867-BCB5-1F9B95F4895E}" sibTransId="{4A24F2E0-E615-4A7F-A094-75ACD943BBEE}"/>
    <dgm:cxn modelId="{B4B0C275-6DE9-441E-BD8D-494E64D32730}" type="presOf" srcId="{AD6C17FF-8DE0-448E-8791-4F4A4C96D05B}" destId="{D2275237-0A3C-4D7F-92B9-22C0E1FD9B01}" srcOrd="0" destOrd="0" presId="urn:microsoft.com/office/officeart/2005/8/layout/hList7"/>
    <dgm:cxn modelId="{D7012D89-0F35-429D-BA69-A79F2B045E85}" type="presOf" srcId="{C7FF50F5-EC52-42D0-BB32-E58613FEF276}" destId="{992CFC02-D761-49D7-A1E8-96518D5F6A59}" srcOrd="1" destOrd="0" presId="urn:microsoft.com/office/officeart/2005/8/layout/hList7"/>
    <dgm:cxn modelId="{94A229A3-58EE-4A76-904A-634ABBB6F897}" srcId="{8CB01F11-1DE7-4C0D-9111-6A5CC350DDDA}" destId="{12E2325F-0BBF-45BA-8D7A-199994019038}" srcOrd="4" destOrd="0" parTransId="{F2C7E829-B6E3-4C46-929D-9D33ACC6B8BF}" sibTransId="{F9C003DB-378A-48B9-92FF-8860C3C34737}"/>
    <dgm:cxn modelId="{7EB5E1A3-EABD-438C-9DA6-2C1A81A2AA91}" type="presOf" srcId="{11A67066-A150-4E3B-AAEF-4B218D8D08AB}" destId="{A7FB95B5-3E2E-42C8-8FD5-DEF181CA1143}" srcOrd="0" destOrd="0" presId="urn:microsoft.com/office/officeart/2005/8/layout/hList7"/>
    <dgm:cxn modelId="{F11156A5-CCB0-4FFA-B76F-91E0487C5F37}" type="presOf" srcId="{ACA237FC-A0B5-463A-9B12-C9B95985D7E9}" destId="{8B655592-E5B8-4257-A057-7F4602224DEE}" srcOrd="0" destOrd="0" presId="urn:microsoft.com/office/officeart/2005/8/layout/hList7"/>
    <dgm:cxn modelId="{02F683C3-3A6F-480F-9BAB-307F7B89EFA4}" type="presOf" srcId="{C7FF50F5-EC52-42D0-BB32-E58613FEF276}" destId="{E587BF7C-09B4-47E2-84D5-E9D725285A30}" srcOrd="0" destOrd="0" presId="urn:microsoft.com/office/officeart/2005/8/layout/hList7"/>
    <dgm:cxn modelId="{27BB3DC9-DD75-4F20-98A1-F0C57FCA17EF}" type="presOf" srcId="{1E8693EB-70C4-4DC0-A962-36945B867474}" destId="{638994DA-5E22-414E-A784-F80CD2AB9C8A}" srcOrd="0" destOrd="0" presId="urn:microsoft.com/office/officeart/2005/8/layout/hList7"/>
    <dgm:cxn modelId="{CF6A89D7-38A9-4CDB-9EB3-FF45F906F30D}" type="presOf" srcId="{12E2325F-0BBF-45BA-8D7A-199994019038}" destId="{F0A21E7D-BC46-47AE-A314-FF05C0B5AE04}" srcOrd="1" destOrd="0" presId="urn:microsoft.com/office/officeart/2005/8/layout/hList7"/>
    <dgm:cxn modelId="{E5B43BE3-E6D1-4FC8-BE4E-AAECE80984C1}" type="presOf" srcId="{8CB01F11-1DE7-4C0D-9111-6A5CC350DDDA}" destId="{1AA00590-9C0B-463D-B799-404B62E42FBA}" srcOrd="0" destOrd="0" presId="urn:microsoft.com/office/officeart/2005/8/layout/hList7"/>
    <dgm:cxn modelId="{DE890CF0-01C3-4F63-A265-08EBE27E58E1}" type="presParOf" srcId="{1AA00590-9C0B-463D-B799-404B62E42FBA}" destId="{C16419E3-4341-470F-865F-C68D126B3466}" srcOrd="0" destOrd="0" presId="urn:microsoft.com/office/officeart/2005/8/layout/hList7"/>
    <dgm:cxn modelId="{40C4C986-39E8-48EF-8E43-944B214EC579}" type="presParOf" srcId="{1AA00590-9C0B-463D-B799-404B62E42FBA}" destId="{3E4FC0E8-DB1B-4EE9-8C82-CA4123FE86E7}" srcOrd="1" destOrd="0" presId="urn:microsoft.com/office/officeart/2005/8/layout/hList7"/>
    <dgm:cxn modelId="{AEC6BEBA-3D66-4AED-992C-A1D72203F1A7}" type="presParOf" srcId="{3E4FC0E8-DB1B-4EE9-8C82-CA4123FE86E7}" destId="{7B48B35F-59EE-45CB-964F-2E5F9259B6F9}" srcOrd="0" destOrd="0" presId="urn:microsoft.com/office/officeart/2005/8/layout/hList7"/>
    <dgm:cxn modelId="{58FFA33D-9830-463D-BF69-8E71BD2035B3}" type="presParOf" srcId="{7B48B35F-59EE-45CB-964F-2E5F9259B6F9}" destId="{A7FB95B5-3E2E-42C8-8FD5-DEF181CA1143}" srcOrd="0" destOrd="0" presId="urn:microsoft.com/office/officeart/2005/8/layout/hList7"/>
    <dgm:cxn modelId="{90E65EFB-4898-4165-9EF4-C1B9A1892AC0}" type="presParOf" srcId="{7B48B35F-59EE-45CB-964F-2E5F9259B6F9}" destId="{0B569A47-C8A0-483D-A700-C27D8A9C70D9}" srcOrd="1" destOrd="0" presId="urn:microsoft.com/office/officeart/2005/8/layout/hList7"/>
    <dgm:cxn modelId="{0CFBD60D-DBAD-439F-99F1-E51420DC1DA3}" type="presParOf" srcId="{7B48B35F-59EE-45CB-964F-2E5F9259B6F9}" destId="{CEDEFFF2-E324-46DD-BA74-451C6906CFF5}" srcOrd="2" destOrd="0" presId="urn:microsoft.com/office/officeart/2005/8/layout/hList7"/>
    <dgm:cxn modelId="{CD9F448A-A72F-4445-A679-BB8F032E44ED}" type="presParOf" srcId="{7B48B35F-59EE-45CB-964F-2E5F9259B6F9}" destId="{7A8819FB-6721-4EBD-8507-23574D424A79}" srcOrd="3" destOrd="0" presId="urn:microsoft.com/office/officeart/2005/8/layout/hList7"/>
    <dgm:cxn modelId="{C16129C3-B2A0-4558-9099-0517E8E267CC}" type="presParOf" srcId="{3E4FC0E8-DB1B-4EE9-8C82-CA4123FE86E7}" destId="{638994DA-5E22-414E-A784-F80CD2AB9C8A}" srcOrd="1" destOrd="0" presId="urn:microsoft.com/office/officeart/2005/8/layout/hList7"/>
    <dgm:cxn modelId="{55B34B27-57CD-4C39-B3D2-EEC92D7521A6}" type="presParOf" srcId="{3E4FC0E8-DB1B-4EE9-8C82-CA4123FE86E7}" destId="{EADE913A-A970-4F0A-8EC1-E1A24516D74E}" srcOrd="2" destOrd="0" presId="urn:microsoft.com/office/officeart/2005/8/layout/hList7"/>
    <dgm:cxn modelId="{306C7462-F8BB-4DE9-BC0F-78E179B31731}" type="presParOf" srcId="{EADE913A-A970-4F0A-8EC1-E1A24516D74E}" destId="{E587BF7C-09B4-47E2-84D5-E9D725285A30}" srcOrd="0" destOrd="0" presId="urn:microsoft.com/office/officeart/2005/8/layout/hList7"/>
    <dgm:cxn modelId="{EFD1113E-86C5-47B5-9556-26FEA857407C}" type="presParOf" srcId="{EADE913A-A970-4F0A-8EC1-E1A24516D74E}" destId="{992CFC02-D761-49D7-A1E8-96518D5F6A59}" srcOrd="1" destOrd="0" presId="urn:microsoft.com/office/officeart/2005/8/layout/hList7"/>
    <dgm:cxn modelId="{FA619D42-5F3C-4E87-A02D-356AB513D565}" type="presParOf" srcId="{EADE913A-A970-4F0A-8EC1-E1A24516D74E}" destId="{723626F3-7EE4-4389-B561-45E233F730E0}" srcOrd="2" destOrd="0" presId="urn:microsoft.com/office/officeart/2005/8/layout/hList7"/>
    <dgm:cxn modelId="{FBC60FFC-92A4-436C-88E1-24CCCE7E7D26}" type="presParOf" srcId="{EADE913A-A970-4F0A-8EC1-E1A24516D74E}" destId="{275E11E1-F034-47FE-949D-FA541FF4B957}" srcOrd="3" destOrd="0" presId="urn:microsoft.com/office/officeart/2005/8/layout/hList7"/>
    <dgm:cxn modelId="{C6239537-19EB-47DE-90C7-A1A7C37BE34B}" type="presParOf" srcId="{3E4FC0E8-DB1B-4EE9-8C82-CA4123FE86E7}" destId="{53644F08-CA74-4CF8-B382-405502BE8957}" srcOrd="3" destOrd="0" presId="urn:microsoft.com/office/officeart/2005/8/layout/hList7"/>
    <dgm:cxn modelId="{3B4A1976-21E9-4FCC-9157-CF96089C2653}" type="presParOf" srcId="{3E4FC0E8-DB1B-4EE9-8C82-CA4123FE86E7}" destId="{0BEDACCF-D644-4B76-AADA-76B3C1048A59}" srcOrd="4" destOrd="0" presId="urn:microsoft.com/office/officeart/2005/8/layout/hList7"/>
    <dgm:cxn modelId="{6AA13649-06D2-40F7-9C0D-12F6896FE629}" type="presParOf" srcId="{0BEDACCF-D644-4B76-AADA-76B3C1048A59}" destId="{8B655592-E5B8-4257-A057-7F4602224DEE}" srcOrd="0" destOrd="0" presId="urn:microsoft.com/office/officeart/2005/8/layout/hList7"/>
    <dgm:cxn modelId="{BC612C8F-10EC-4F28-9206-E1C5CF195654}" type="presParOf" srcId="{0BEDACCF-D644-4B76-AADA-76B3C1048A59}" destId="{9B0679AF-93EF-418D-BE7C-F2AFE12C5456}" srcOrd="1" destOrd="0" presId="urn:microsoft.com/office/officeart/2005/8/layout/hList7"/>
    <dgm:cxn modelId="{C6929988-9DE6-45B5-9F29-A4C9805BE4CD}" type="presParOf" srcId="{0BEDACCF-D644-4B76-AADA-76B3C1048A59}" destId="{8CFFE1BC-09B2-4CFC-A1C3-0256F74C71B9}" srcOrd="2" destOrd="0" presId="urn:microsoft.com/office/officeart/2005/8/layout/hList7"/>
    <dgm:cxn modelId="{21AE0044-50DC-4D06-80AC-752C70411973}" type="presParOf" srcId="{0BEDACCF-D644-4B76-AADA-76B3C1048A59}" destId="{032E556F-1611-4CBB-9FB6-2A9DF0194E6C}" srcOrd="3" destOrd="0" presId="urn:microsoft.com/office/officeart/2005/8/layout/hList7"/>
    <dgm:cxn modelId="{B91116C6-DC91-40F3-BF96-6AE586307CA1}" type="presParOf" srcId="{3E4FC0E8-DB1B-4EE9-8C82-CA4123FE86E7}" destId="{A7DFA4FA-D17D-4442-AD65-3B9533DC530A}" srcOrd="5" destOrd="0" presId="urn:microsoft.com/office/officeart/2005/8/layout/hList7"/>
    <dgm:cxn modelId="{6AA1C220-7FA5-47C6-877D-BBA030C3A5E0}" type="presParOf" srcId="{3E4FC0E8-DB1B-4EE9-8C82-CA4123FE86E7}" destId="{099A6D5E-EB36-4EAB-B2BF-C916DE2E688D}" srcOrd="6" destOrd="0" presId="urn:microsoft.com/office/officeart/2005/8/layout/hList7"/>
    <dgm:cxn modelId="{9789B5DE-BCCB-4736-9136-CA944B1DAD1B}" type="presParOf" srcId="{099A6D5E-EB36-4EAB-B2BF-C916DE2E688D}" destId="{4C9BCA02-1E57-4B00-9F34-AA94038BAC72}" srcOrd="0" destOrd="0" presId="urn:microsoft.com/office/officeart/2005/8/layout/hList7"/>
    <dgm:cxn modelId="{8F8BF6BF-52BD-47D8-B90B-F8AD758C708A}" type="presParOf" srcId="{099A6D5E-EB36-4EAB-B2BF-C916DE2E688D}" destId="{59079FDD-C60E-4AF0-9AB5-922F5BE55843}" srcOrd="1" destOrd="0" presId="urn:microsoft.com/office/officeart/2005/8/layout/hList7"/>
    <dgm:cxn modelId="{BDD774BC-6728-466D-BB4F-6565A2F253C3}" type="presParOf" srcId="{099A6D5E-EB36-4EAB-B2BF-C916DE2E688D}" destId="{A6373DA5-4C8F-4868-B666-70DCF07E0508}" srcOrd="2" destOrd="0" presId="urn:microsoft.com/office/officeart/2005/8/layout/hList7"/>
    <dgm:cxn modelId="{273B282E-1320-4E0E-8090-37CBA696CF00}" type="presParOf" srcId="{099A6D5E-EB36-4EAB-B2BF-C916DE2E688D}" destId="{42F1935E-9B3C-4B2B-B59E-EEE1DF4BAD57}" srcOrd="3" destOrd="0" presId="urn:microsoft.com/office/officeart/2005/8/layout/hList7"/>
    <dgm:cxn modelId="{0DE27336-7D00-4EC9-BCC9-46ED38676EC4}" type="presParOf" srcId="{3E4FC0E8-DB1B-4EE9-8C82-CA4123FE86E7}" destId="{D2275237-0A3C-4D7F-92B9-22C0E1FD9B01}" srcOrd="7" destOrd="0" presId="urn:microsoft.com/office/officeart/2005/8/layout/hList7"/>
    <dgm:cxn modelId="{00DB80F6-71C3-45C0-ACBC-7D43E5714DDF}" type="presParOf" srcId="{3E4FC0E8-DB1B-4EE9-8C82-CA4123FE86E7}" destId="{5B3ADEEF-FBE8-4858-BABB-70EBA9F6977A}" srcOrd="8" destOrd="0" presId="urn:microsoft.com/office/officeart/2005/8/layout/hList7"/>
    <dgm:cxn modelId="{244ED76A-A43D-4024-8803-070E22D3E406}" type="presParOf" srcId="{5B3ADEEF-FBE8-4858-BABB-70EBA9F6977A}" destId="{91DAA98C-C656-4330-B488-A43842493031}" srcOrd="0" destOrd="0" presId="urn:microsoft.com/office/officeart/2005/8/layout/hList7"/>
    <dgm:cxn modelId="{AC0D6138-3622-4663-9FD3-D3F4EC9B3E5A}" type="presParOf" srcId="{5B3ADEEF-FBE8-4858-BABB-70EBA9F6977A}" destId="{F0A21E7D-BC46-47AE-A314-FF05C0B5AE04}" srcOrd="1" destOrd="0" presId="urn:microsoft.com/office/officeart/2005/8/layout/hList7"/>
    <dgm:cxn modelId="{43191E9B-25B8-410C-96B4-25E3D18B400D}" type="presParOf" srcId="{5B3ADEEF-FBE8-4858-BABB-70EBA9F6977A}" destId="{77A071F0-94E8-4A3B-AE02-487C08CE2C64}" srcOrd="2" destOrd="0" presId="urn:microsoft.com/office/officeart/2005/8/layout/hList7"/>
    <dgm:cxn modelId="{C5014688-3DE6-4316-85FD-D91C5CDC2D13}" type="presParOf" srcId="{5B3ADEEF-FBE8-4858-BABB-70EBA9F6977A}" destId="{02A7216A-0C7E-4A83-BCB6-9C97C7D60641}"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121D99-2786-474B-986D-76832C7275E5}" type="doc">
      <dgm:prSet loTypeId="urn:microsoft.com/office/officeart/2005/8/layout/hierarchy1" loCatId="hierarchy" qsTypeId="urn:microsoft.com/office/officeart/2005/8/quickstyle/simple2" qsCatId="simple" csTypeId="urn:microsoft.com/office/officeart/2005/8/colors/accent1_2" csCatId="accent1"/>
      <dgm:spPr/>
      <dgm:t>
        <a:bodyPr/>
        <a:lstStyle/>
        <a:p>
          <a:endParaRPr lang="en-US"/>
        </a:p>
      </dgm:t>
    </dgm:pt>
    <dgm:pt modelId="{1710E490-51E9-44E6-BA19-D94BBB9F2074}">
      <dgm:prSet/>
      <dgm:spPr/>
      <dgm:t>
        <a:bodyPr/>
        <a:lstStyle/>
        <a:p>
          <a:r>
            <a:rPr lang="en-IN" b="0" i="0" baseline="0"/>
            <a:t>Availability is the proportion of time that the system is functional and working. </a:t>
          </a:r>
          <a:endParaRPr lang="en-US"/>
        </a:p>
      </dgm:t>
    </dgm:pt>
    <dgm:pt modelId="{99A94CFB-3025-4F22-B936-214EE980FE2C}" type="parTrans" cxnId="{F51044DE-502E-4FFC-AA75-F2AE30BBA45C}">
      <dgm:prSet/>
      <dgm:spPr/>
      <dgm:t>
        <a:bodyPr/>
        <a:lstStyle/>
        <a:p>
          <a:endParaRPr lang="en-US"/>
        </a:p>
      </dgm:t>
    </dgm:pt>
    <dgm:pt modelId="{EE049E56-5CB5-496F-A5ED-162A06EE2125}" type="sibTrans" cxnId="{F51044DE-502E-4FFC-AA75-F2AE30BBA45C}">
      <dgm:prSet/>
      <dgm:spPr/>
      <dgm:t>
        <a:bodyPr/>
        <a:lstStyle/>
        <a:p>
          <a:endParaRPr lang="en-US"/>
        </a:p>
      </dgm:t>
    </dgm:pt>
    <dgm:pt modelId="{B7E8C5E9-E569-40D7-9215-B4B50DFCAC7D}">
      <dgm:prSet/>
      <dgm:spPr/>
      <dgm:t>
        <a:bodyPr/>
        <a:lstStyle/>
        <a:p>
          <a:r>
            <a:rPr lang="en-IN" b="0" i="0" baseline="0"/>
            <a:t>It is usually measured as a percentage of uptime. Application errors, infrastructure problems, and system load can all reduce availability.</a:t>
          </a:r>
          <a:endParaRPr lang="en-US"/>
        </a:p>
      </dgm:t>
    </dgm:pt>
    <dgm:pt modelId="{C4A342F2-57BA-4CEC-8498-A306B4C7E30B}" type="parTrans" cxnId="{70741D73-918E-4956-A607-23EC9D7FA957}">
      <dgm:prSet/>
      <dgm:spPr/>
      <dgm:t>
        <a:bodyPr/>
        <a:lstStyle/>
        <a:p>
          <a:endParaRPr lang="en-US"/>
        </a:p>
      </dgm:t>
    </dgm:pt>
    <dgm:pt modelId="{99C8C77B-8784-4060-A9D8-F06292247C8C}" type="sibTrans" cxnId="{70741D73-918E-4956-A607-23EC9D7FA957}">
      <dgm:prSet/>
      <dgm:spPr/>
      <dgm:t>
        <a:bodyPr/>
        <a:lstStyle/>
        <a:p>
          <a:endParaRPr lang="en-US"/>
        </a:p>
      </dgm:t>
    </dgm:pt>
    <dgm:pt modelId="{43711BC1-AA04-4618-A31F-9E2B0197A16E}" type="pres">
      <dgm:prSet presAssocID="{B9121D99-2786-474B-986D-76832C7275E5}" presName="hierChild1" presStyleCnt="0">
        <dgm:presLayoutVars>
          <dgm:chPref val="1"/>
          <dgm:dir/>
          <dgm:animOne val="branch"/>
          <dgm:animLvl val="lvl"/>
          <dgm:resizeHandles/>
        </dgm:presLayoutVars>
      </dgm:prSet>
      <dgm:spPr/>
    </dgm:pt>
    <dgm:pt modelId="{7C9880E3-6760-4AE2-986D-2E3977469DCA}" type="pres">
      <dgm:prSet presAssocID="{1710E490-51E9-44E6-BA19-D94BBB9F2074}" presName="hierRoot1" presStyleCnt="0"/>
      <dgm:spPr/>
    </dgm:pt>
    <dgm:pt modelId="{D1C7C055-B69B-45B2-BE80-84717DF81DBF}" type="pres">
      <dgm:prSet presAssocID="{1710E490-51E9-44E6-BA19-D94BBB9F2074}" presName="composite" presStyleCnt="0"/>
      <dgm:spPr/>
    </dgm:pt>
    <dgm:pt modelId="{4DF53DE6-E128-4636-A711-88C58CF614F7}" type="pres">
      <dgm:prSet presAssocID="{1710E490-51E9-44E6-BA19-D94BBB9F2074}" presName="background" presStyleLbl="node0" presStyleIdx="0" presStyleCnt="2"/>
      <dgm:spPr/>
    </dgm:pt>
    <dgm:pt modelId="{3C470284-986D-4A64-8E20-AF10551FCC84}" type="pres">
      <dgm:prSet presAssocID="{1710E490-51E9-44E6-BA19-D94BBB9F2074}" presName="text" presStyleLbl="fgAcc0" presStyleIdx="0" presStyleCnt="2">
        <dgm:presLayoutVars>
          <dgm:chPref val="3"/>
        </dgm:presLayoutVars>
      </dgm:prSet>
      <dgm:spPr/>
    </dgm:pt>
    <dgm:pt modelId="{55563D8A-193E-4274-9D78-38A413CA4EE3}" type="pres">
      <dgm:prSet presAssocID="{1710E490-51E9-44E6-BA19-D94BBB9F2074}" presName="hierChild2" presStyleCnt="0"/>
      <dgm:spPr/>
    </dgm:pt>
    <dgm:pt modelId="{C2774CAA-9008-4291-9EFA-31D87ACE0DEA}" type="pres">
      <dgm:prSet presAssocID="{B7E8C5E9-E569-40D7-9215-B4B50DFCAC7D}" presName="hierRoot1" presStyleCnt="0"/>
      <dgm:spPr/>
    </dgm:pt>
    <dgm:pt modelId="{BF8557B8-47BA-4422-B0F2-D71D4F70BEE6}" type="pres">
      <dgm:prSet presAssocID="{B7E8C5E9-E569-40D7-9215-B4B50DFCAC7D}" presName="composite" presStyleCnt="0"/>
      <dgm:spPr/>
    </dgm:pt>
    <dgm:pt modelId="{DDFEBD5D-59F5-45D4-95CA-6D11A5964920}" type="pres">
      <dgm:prSet presAssocID="{B7E8C5E9-E569-40D7-9215-B4B50DFCAC7D}" presName="background" presStyleLbl="node0" presStyleIdx="1" presStyleCnt="2"/>
      <dgm:spPr/>
    </dgm:pt>
    <dgm:pt modelId="{68ACF67D-186A-4D88-9EC9-A6C53CAAD861}" type="pres">
      <dgm:prSet presAssocID="{B7E8C5E9-E569-40D7-9215-B4B50DFCAC7D}" presName="text" presStyleLbl="fgAcc0" presStyleIdx="1" presStyleCnt="2">
        <dgm:presLayoutVars>
          <dgm:chPref val="3"/>
        </dgm:presLayoutVars>
      </dgm:prSet>
      <dgm:spPr/>
    </dgm:pt>
    <dgm:pt modelId="{6057C905-C5AC-41D8-B57D-E96EF28F92D1}" type="pres">
      <dgm:prSet presAssocID="{B7E8C5E9-E569-40D7-9215-B4B50DFCAC7D}" presName="hierChild2" presStyleCnt="0"/>
      <dgm:spPr/>
    </dgm:pt>
  </dgm:ptLst>
  <dgm:cxnLst>
    <dgm:cxn modelId="{ADA3362A-6F76-40E6-86A4-57A33C86203A}" type="presOf" srcId="{B7E8C5E9-E569-40D7-9215-B4B50DFCAC7D}" destId="{68ACF67D-186A-4D88-9EC9-A6C53CAAD861}" srcOrd="0" destOrd="0" presId="urn:microsoft.com/office/officeart/2005/8/layout/hierarchy1"/>
    <dgm:cxn modelId="{70741D73-918E-4956-A607-23EC9D7FA957}" srcId="{B9121D99-2786-474B-986D-76832C7275E5}" destId="{B7E8C5E9-E569-40D7-9215-B4B50DFCAC7D}" srcOrd="1" destOrd="0" parTransId="{C4A342F2-57BA-4CEC-8498-A306B4C7E30B}" sibTransId="{99C8C77B-8784-4060-A9D8-F06292247C8C}"/>
    <dgm:cxn modelId="{D47AC076-4893-428E-A76F-C3923E597D32}" type="presOf" srcId="{B9121D99-2786-474B-986D-76832C7275E5}" destId="{43711BC1-AA04-4618-A31F-9E2B0197A16E}" srcOrd="0" destOrd="0" presId="urn:microsoft.com/office/officeart/2005/8/layout/hierarchy1"/>
    <dgm:cxn modelId="{7E3797B0-DA24-4FAA-A49D-4EF6E3BDF552}" type="presOf" srcId="{1710E490-51E9-44E6-BA19-D94BBB9F2074}" destId="{3C470284-986D-4A64-8E20-AF10551FCC84}" srcOrd="0" destOrd="0" presId="urn:microsoft.com/office/officeart/2005/8/layout/hierarchy1"/>
    <dgm:cxn modelId="{F51044DE-502E-4FFC-AA75-F2AE30BBA45C}" srcId="{B9121D99-2786-474B-986D-76832C7275E5}" destId="{1710E490-51E9-44E6-BA19-D94BBB9F2074}" srcOrd="0" destOrd="0" parTransId="{99A94CFB-3025-4F22-B936-214EE980FE2C}" sibTransId="{EE049E56-5CB5-496F-A5ED-162A06EE2125}"/>
    <dgm:cxn modelId="{2CECA64C-99A8-4358-BFB8-0FE2CAA2437C}" type="presParOf" srcId="{43711BC1-AA04-4618-A31F-9E2B0197A16E}" destId="{7C9880E3-6760-4AE2-986D-2E3977469DCA}" srcOrd="0" destOrd="0" presId="urn:microsoft.com/office/officeart/2005/8/layout/hierarchy1"/>
    <dgm:cxn modelId="{DCCC90B5-6444-4442-AE4F-E0B895C50D51}" type="presParOf" srcId="{7C9880E3-6760-4AE2-986D-2E3977469DCA}" destId="{D1C7C055-B69B-45B2-BE80-84717DF81DBF}" srcOrd="0" destOrd="0" presId="urn:microsoft.com/office/officeart/2005/8/layout/hierarchy1"/>
    <dgm:cxn modelId="{B5D7C690-4EDA-48F7-B1A4-7CCC88609B49}" type="presParOf" srcId="{D1C7C055-B69B-45B2-BE80-84717DF81DBF}" destId="{4DF53DE6-E128-4636-A711-88C58CF614F7}" srcOrd="0" destOrd="0" presId="urn:microsoft.com/office/officeart/2005/8/layout/hierarchy1"/>
    <dgm:cxn modelId="{E24C3F12-9C90-45BF-876D-45187668F16A}" type="presParOf" srcId="{D1C7C055-B69B-45B2-BE80-84717DF81DBF}" destId="{3C470284-986D-4A64-8E20-AF10551FCC84}" srcOrd="1" destOrd="0" presId="urn:microsoft.com/office/officeart/2005/8/layout/hierarchy1"/>
    <dgm:cxn modelId="{BE97BF88-5BA2-494D-8255-2A673FAFEE70}" type="presParOf" srcId="{7C9880E3-6760-4AE2-986D-2E3977469DCA}" destId="{55563D8A-193E-4274-9D78-38A413CA4EE3}" srcOrd="1" destOrd="0" presId="urn:microsoft.com/office/officeart/2005/8/layout/hierarchy1"/>
    <dgm:cxn modelId="{6F9299AC-8B2C-4894-A439-A1DEFE1AF976}" type="presParOf" srcId="{43711BC1-AA04-4618-A31F-9E2B0197A16E}" destId="{C2774CAA-9008-4291-9EFA-31D87ACE0DEA}" srcOrd="1" destOrd="0" presId="urn:microsoft.com/office/officeart/2005/8/layout/hierarchy1"/>
    <dgm:cxn modelId="{CF4FC038-42C5-4955-BA62-A14BFDD36216}" type="presParOf" srcId="{C2774CAA-9008-4291-9EFA-31D87ACE0DEA}" destId="{BF8557B8-47BA-4422-B0F2-D71D4F70BEE6}" srcOrd="0" destOrd="0" presId="urn:microsoft.com/office/officeart/2005/8/layout/hierarchy1"/>
    <dgm:cxn modelId="{3981CF53-0630-4CF5-9AFA-5114A6A6AB5C}" type="presParOf" srcId="{BF8557B8-47BA-4422-B0F2-D71D4F70BEE6}" destId="{DDFEBD5D-59F5-45D4-95CA-6D11A5964920}" srcOrd="0" destOrd="0" presId="urn:microsoft.com/office/officeart/2005/8/layout/hierarchy1"/>
    <dgm:cxn modelId="{E02151CE-5424-4C46-B044-9ADC29B18BC7}" type="presParOf" srcId="{BF8557B8-47BA-4422-B0F2-D71D4F70BEE6}" destId="{68ACF67D-186A-4D88-9EC9-A6C53CAAD861}" srcOrd="1" destOrd="0" presId="urn:microsoft.com/office/officeart/2005/8/layout/hierarchy1"/>
    <dgm:cxn modelId="{5A0A88A3-FEF4-471E-AF60-F429A8A9A48F}" type="presParOf" srcId="{C2774CAA-9008-4291-9EFA-31D87ACE0DEA}" destId="{6057C905-C5AC-41D8-B57D-E96EF28F92D1}"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5000A7-A07E-4B2A-9617-D4131610413A}" type="doc">
      <dgm:prSet loTypeId="urn:microsoft.com/office/officeart/2005/8/layout/hierarchy1" loCatId="hierarchy" qsTypeId="urn:microsoft.com/office/officeart/2005/8/quickstyle/simple2" qsCatId="simple" csTypeId="urn:microsoft.com/office/officeart/2005/8/colors/accent1_2" csCatId="accent1"/>
      <dgm:spPr/>
      <dgm:t>
        <a:bodyPr/>
        <a:lstStyle/>
        <a:p>
          <a:endParaRPr lang="en-US"/>
        </a:p>
      </dgm:t>
    </dgm:pt>
    <dgm:pt modelId="{18DCE242-F033-4E63-9CCD-329BCBFFC40F}">
      <dgm:prSet/>
      <dgm:spPr/>
      <dgm:t>
        <a:bodyPr/>
        <a:lstStyle/>
        <a:p>
          <a:r>
            <a:rPr lang="en-IN" b="0" i="0" baseline="0"/>
            <a:t>Resiliency is the ability of the system to recover from failures and continue to function. </a:t>
          </a:r>
          <a:endParaRPr lang="en-US"/>
        </a:p>
      </dgm:t>
    </dgm:pt>
    <dgm:pt modelId="{F7F949D5-C205-493A-80D0-EFDFA5CA12C2}" type="parTrans" cxnId="{3FD76632-6698-4D6A-BF07-7D334AC89EF9}">
      <dgm:prSet/>
      <dgm:spPr/>
      <dgm:t>
        <a:bodyPr/>
        <a:lstStyle/>
        <a:p>
          <a:endParaRPr lang="en-US"/>
        </a:p>
      </dgm:t>
    </dgm:pt>
    <dgm:pt modelId="{23B08D87-76F5-437C-ADA6-2409034F0462}" type="sibTrans" cxnId="{3FD76632-6698-4D6A-BF07-7D334AC89EF9}">
      <dgm:prSet/>
      <dgm:spPr/>
      <dgm:t>
        <a:bodyPr/>
        <a:lstStyle/>
        <a:p>
          <a:endParaRPr lang="en-US"/>
        </a:p>
      </dgm:t>
    </dgm:pt>
    <dgm:pt modelId="{5D018E47-F062-4B98-93FA-1D2F4AF569FF}">
      <dgm:prSet/>
      <dgm:spPr/>
      <dgm:t>
        <a:bodyPr/>
        <a:lstStyle/>
        <a:p>
          <a:r>
            <a:rPr lang="en-IN" b="0" i="0" baseline="0"/>
            <a:t>The goal of resiliency is to return the application to a fully functioning state after a failure occurs. Resiliency is closely related to availability.</a:t>
          </a:r>
          <a:endParaRPr lang="en-US"/>
        </a:p>
      </dgm:t>
    </dgm:pt>
    <dgm:pt modelId="{0B7D9A27-04D3-4CDC-99F8-11C2329EDF51}" type="parTrans" cxnId="{6E58BACC-3E2E-4E61-B704-7D7DDFBE0E2F}">
      <dgm:prSet/>
      <dgm:spPr/>
      <dgm:t>
        <a:bodyPr/>
        <a:lstStyle/>
        <a:p>
          <a:endParaRPr lang="en-US"/>
        </a:p>
      </dgm:t>
    </dgm:pt>
    <dgm:pt modelId="{A8D578B4-BF79-44AF-B497-A65A4C308F95}" type="sibTrans" cxnId="{6E58BACC-3E2E-4E61-B704-7D7DDFBE0E2F}">
      <dgm:prSet/>
      <dgm:spPr/>
      <dgm:t>
        <a:bodyPr/>
        <a:lstStyle/>
        <a:p>
          <a:endParaRPr lang="en-US"/>
        </a:p>
      </dgm:t>
    </dgm:pt>
    <dgm:pt modelId="{51ED03CB-3B29-40D7-98DC-2C2235B3B813}" type="pres">
      <dgm:prSet presAssocID="{825000A7-A07E-4B2A-9617-D4131610413A}" presName="hierChild1" presStyleCnt="0">
        <dgm:presLayoutVars>
          <dgm:chPref val="1"/>
          <dgm:dir/>
          <dgm:animOne val="branch"/>
          <dgm:animLvl val="lvl"/>
          <dgm:resizeHandles/>
        </dgm:presLayoutVars>
      </dgm:prSet>
      <dgm:spPr/>
    </dgm:pt>
    <dgm:pt modelId="{F90F294E-25DA-479A-88D1-9E0DFC37EA2C}" type="pres">
      <dgm:prSet presAssocID="{18DCE242-F033-4E63-9CCD-329BCBFFC40F}" presName="hierRoot1" presStyleCnt="0"/>
      <dgm:spPr/>
    </dgm:pt>
    <dgm:pt modelId="{C5BC372B-6CA8-4A6B-B8BC-710F4B9E1F1E}" type="pres">
      <dgm:prSet presAssocID="{18DCE242-F033-4E63-9CCD-329BCBFFC40F}" presName="composite" presStyleCnt="0"/>
      <dgm:spPr/>
    </dgm:pt>
    <dgm:pt modelId="{42F2F3B2-759F-41DF-A8ED-303FC73EFAED}" type="pres">
      <dgm:prSet presAssocID="{18DCE242-F033-4E63-9CCD-329BCBFFC40F}" presName="background" presStyleLbl="node0" presStyleIdx="0" presStyleCnt="2"/>
      <dgm:spPr/>
    </dgm:pt>
    <dgm:pt modelId="{D4D945BC-5DC7-4F72-AFCE-680B4B6977D7}" type="pres">
      <dgm:prSet presAssocID="{18DCE242-F033-4E63-9CCD-329BCBFFC40F}" presName="text" presStyleLbl="fgAcc0" presStyleIdx="0" presStyleCnt="2">
        <dgm:presLayoutVars>
          <dgm:chPref val="3"/>
        </dgm:presLayoutVars>
      </dgm:prSet>
      <dgm:spPr/>
    </dgm:pt>
    <dgm:pt modelId="{16D9CDEF-A73F-4B71-A996-69DAA93204F2}" type="pres">
      <dgm:prSet presAssocID="{18DCE242-F033-4E63-9CCD-329BCBFFC40F}" presName="hierChild2" presStyleCnt="0"/>
      <dgm:spPr/>
    </dgm:pt>
    <dgm:pt modelId="{630E1CF6-17C0-406C-B514-1DDCB1CF8796}" type="pres">
      <dgm:prSet presAssocID="{5D018E47-F062-4B98-93FA-1D2F4AF569FF}" presName="hierRoot1" presStyleCnt="0"/>
      <dgm:spPr/>
    </dgm:pt>
    <dgm:pt modelId="{537112A6-4201-4C25-BE35-FB385A1B5E95}" type="pres">
      <dgm:prSet presAssocID="{5D018E47-F062-4B98-93FA-1D2F4AF569FF}" presName="composite" presStyleCnt="0"/>
      <dgm:spPr/>
    </dgm:pt>
    <dgm:pt modelId="{8E1325E8-883D-4805-A1DE-C6ACAC372A28}" type="pres">
      <dgm:prSet presAssocID="{5D018E47-F062-4B98-93FA-1D2F4AF569FF}" presName="background" presStyleLbl="node0" presStyleIdx="1" presStyleCnt="2"/>
      <dgm:spPr/>
    </dgm:pt>
    <dgm:pt modelId="{31D85D00-FFB4-4DA6-9EF3-1102F345C7CC}" type="pres">
      <dgm:prSet presAssocID="{5D018E47-F062-4B98-93FA-1D2F4AF569FF}" presName="text" presStyleLbl="fgAcc0" presStyleIdx="1" presStyleCnt="2">
        <dgm:presLayoutVars>
          <dgm:chPref val="3"/>
        </dgm:presLayoutVars>
      </dgm:prSet>
      <dgm:spPr/>
    </dgm:pt>
    <dgm:pt modelId="{406D2C68-99C7-4EFE-8E2F-B6F5D388B56F}" type="pres">
      <dgm:prSet presAssocID="{5D018E47-F062-4B98-93FA-1D2F4AF569FF}" presName="hierChild2" presStyleCnt="0"/>
      <dgm:spPr/>
    </dgm:pt>
  </dgm:ptLst>
  <dgm:cxnLst>
    <dgm:cxn modelId="{913C3C18-F950-44F1-98FF-64E0FDD90073}" type="presOf" srcId="{5D018E47-F062-4B98-93FA-1D2F4AF569FF}" destId="{31D85D00-FFB4-4DA6-9EF3-1102F345C7CC}" srcOrd="0" destOrd="0" presId="urn:microsoft.com/office/officeart/2005/8/layout/hierarchy1"/>
    <dgm:cxn modelId="{3FD76632-6698-4D6A-BF07-7D334AC89EF9}" srcId="{825000A7-A07E-4B2A-9617-D4131610413A}" destId="{18DCE242-F033-4E63-9CCD-329BCBFFC40F}" srcOrd="0" destOrd="0" parTransId="{F7F949D5-C205-493A-80D0-EFDFA5CA12C2}" sibTransId="{23B08D87-76F5-437C-ADA6-2409034F0462}"/>
    <dgm:cxn modelId="{B4559B43-C251-4639-B561-B92C69F5868D}" type="presOf" srcId="{825000A7-A07E-4B2A-9617-D4131610413A}" destId="{51ED03CB-3B29-40D7-98DC-2C2235B3B813}" srcOrd="0" destOrd="0" presId="urn:microsoft.com/office/officeart/2005/8/layout/hierarchy1"/>
    <dgm:cxn modelId="{AAF89CA1-8CED-4020-B355-B1C6CDED6BFE}" type="presOf" srcId="{18DCE242-F033-4E63-9CCD-329BCBFFC40F}" destId="{D4D945BC-5DC7-4F72-AFCE-680B4B6977D7}" srcOrd="0" destOrd="0" presId="urn:microsoft.com/office/officeart/2005/8/layout/hierarchy1"/>
    <dgm:cxn modelId="{6E58BACC-3E2E-4E61-B704-7D7DDFBE0E2F}" srcId="{825000A7-A07E-4B2A-9617-D4131610413A}" destId="{5D018E47-F062-4B98-93FA-1D2F4AF569FF}" srcOrd="1" destOrd="0" parTransId="{0B7D9A27-04D3-4CDC-99F8-11C2329EDF51}" sibTransId="{A8D578B4-BF79-44AF-B497-A65A4C308F95}"/>
    <dgm:cxn modelId="{288EFB45-204F-4083-BCE4-C038E25E1EF0}" type="presParOf" srcId="{51ED03CB-3B29-40D7-98DC-2C2235B3B813}" destId="{F90F294E-25DA-479A-88D1-9E0DFC37EA2C}" srcOrd="0" destOrd="0" presId="urn:microsoft.com/office/officeart/2005/8/layout/hierarchy1"/>
    <dgm:cxn modelId="{8BD08C60-A213-438D-AB24-D4E2F9853BC5}" type="presParOf" srcId="{F90F294E-25DA-479A-88D1-9E0DFC37EA2C}" destId="{C5BC372B-6CA8-4A6B-B8BC-710F4B9E1F1E}" srcOrd="0" destOrd="0" presId="urn:microsoft.com/office/officeart/2005/8/layout/hierarchy1"/>
    <dgm:cxn modelId="{5ACED27F-1E87-4DB6-879D-598AE3C0A5B6}" type="presParOf" srcId="{C5BC372B-6CA8-4A6B-B8BC-710F4B9E1F1E}" destId="{42F2F3B2-759F-41DF-A8ED-303FC73EFAED}" srcOrd="0" destOrd="0" presId="urn:microsoft.com/office/officeart/2005/8/layout/hierarchy1"/>
    <dgm:cxn modelId="{9839F5BB-DBEE-40EF-AE07-1A720E72D424}" type="presParOf" srcId="{C5BC372B-6CA8-4A6B-B8BC-710F4B9E1F1E}" destId="{D4D945BC-5DC7-4F72-AFCE-680B4B6977D7}" srcOrd="1" destOrd="0" presId="urn:microsoft.com/office/officeart/2005/8/layout/hierarchy1"/>
    <dgm:cxn modelId="{D5B5B3E8-BF53-4CB6-80B4-49DE2060A7B2}" type="presParOf" srcId="{F90F294E-25DA-479A-88D1-9E0DFC37EA2C}" destId="{16D9CDEF-A73F-4B71-A996-69DAA93204F2}" srcOrd="1" destOrd="0" presId="urn:microsoft.com/office/officeart/2005/8/layout/hierarchy1"/>
    <dgm:cxn modelId="{2EB3EC08-A777-4B6C-8512-B85F2BC8D6EF}" type="presParOf" srcId="{51ED03CB-3B29-40D7-98DC-2C2235B3B813}" destId="{630E1CF6-17C0-406C-B514-1DDCB1CF8796}" srcOrd="1" destOrd="0" presId="urn:microsoft.com/office/officeart/2005/8/layout/hierarchy1"/>
    <dgm:cxn modelId="{C71A9CC0-C433-4B89-BCCF-9D610600EE07}" type="presParOf" srcId="{630E1CF6-17C0-406C-B514-1DDCB1CF8796}" destId="{537112A6-4201-4C25-BE35-FB385A1B5E95}" srcOrd="0" destOrd="0" presId="urn:microsoft.com/office/officeart/2005/8/layout/hierarchy1"/>
    <dgm:cxn modelId="{C233DB6D-D8C9-45C6-A1FA-FAAD94CE2628}" type="presParOf" srcId="{537112A6-4201-4C25-BE35-FB385A1B5E95}" destId="{8E1325E8-883D-4805-A1DE-C6ACAC372A28}" srcOrd="0" destOrd="0" presId="urn:microsoft.com/office/officeart/2005/8/layout/hierarchy1"/>
    <dgm:cxn modelId="{4A3BEDAD-A598-486A-8034-5E371BC08F2B}" type="presParOf" srcId="{537112A6-4201-4C25-BE35-FB385A1B5E95}" destId="{31D85D00-FFB4-4DA6-9EF3-1102F345C7CC}" srcOrd="1" destOrd="0" presId="urn:microsoft.com/office/officeart/2005/8/layout/hierarchy1"/>
    <dgm:cxn modelId="{862982D3-ACEB-40ED-A398-7FEA7A1DB742}" type="presParOf" srcId="{630E1CF6-17C0-406C-B514-1DDCB1CF8796}" destId="{406D2C68-99C7-4EFE-8E2F-B6F5D388B56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FD55982-7060-4DDA-AB01-35392163D95A}" type="doc">
      <dgm:prSet loTypeId="urn:microsoft.com/office/officeart/2005/8/layout/hierarchy1" loCatId="hierarchy" qsTypeId="urn:microsoft.com/office/officeart/2005/8/quickstyle/simple2" qsCatId="simple" csTypeId="urn:microsoft.com/office/officeart/2005/8/colors/colorful1" csCatId="colorful"/>
      <dgm:spPr/>
      <dgm:t>
        <a:bodyPr/>
        <a:lstStyle/>
        <a:p>
          <a:endParaRPr lang="en-US"/>
        </a:p>
      </dgm:t>
    </dgm:pt>
    <dgm:pt modelId="{1DE7F750-9C03-4CF9-90A7-F845BB109B6F}">
      <dgm:prSet/>
      <dgm:spPr/>
      <dgm:t>
        <a:bodyPr/>
        <a:lstStyle/>
        <a:p>
          <a:r>
            <a:rPr lang="en-IN" b="0" i="0"/>
            <a:t>The distributed nature of cloud applications requires a messaging infrastructure that connects the components and services, ideally in a loosely coupled manner in order to maximize scalability. </a:t>
          </a:r>
          <a:endParaRPr lang="en-US"/>
        </a:p>
      </dgm:t>
    </dgm:pt>
    <dgm:pt modelId="{5BAAE781-7AE2-4AB2-8242-BF3B08953B6F}" type="parTrans" cxnId="{B85D2134-B015-42C6-AD04-239197665E81}">
      <dgm:prSet/>
      <dgm:spPr/>
      <dgm:t>
        <a:bodyPr/>
        <a:lstStyle/>
        <a:p>
          <a:endParaRPr lang="en-US"/>
        </a:p>
      </dgm:t>
    </dgm:pt>
    <dgm:pt modelId="{C8AB0A74-F142-4086-BA2F-D687D9263EFB}" type="sibTrans" cxnId="{B85D2134-B015-42C6-AD04-239197665E81}">
      <dgm:prSet/>
      <dgm:spPr/>
      <dgm:t>
        <a:bodyPr/>
        <a:lstStyle/>
        <a:p>
          <a:endParaRPr lang="en-US"/>
        </a:p>
      </dgm:t>
    </dgm:pt>
    <dgm:pt modelId="{A6A09C92-BE38-4872-8B02-1370517E2C15}">
      <dgm:prSet/>
      <dgm:spPr/>
      <dgm:t>
        <a:bodyPr/>
        <a:lstStyle/>
        <a:p>
          <a:r>
            <a:rPr lang="en-IN" b="0" i="0"/>
            <a:t>Asynchronous messaging is widely used, and provides many benefits, but also brings challenges such as the ordering of messages, poison message management, idempotency, and more.</a:t>
          </a:r>
          <a:endParaRPr lang="en-US"/>
        </a:p>
      </dgm:t>
    </dgm:pt>
    <dgm:pt modelId="{EC8366E5-F060-4482-B678-54BE76DC6582}" type="parTrans" cxnId="{0D96FC12-2E07-448C-9859-01184146EF05}">
      <dgm:prSet/>
      <dgm:spPr/>
      <dgm:t>
        <a:bodyPr/>
        <a:lstStyle/>
        <a:p>
          <a:endParaRPr lang="en-US"/>
        </a:p>
      </dgm:t>
    </dgm:pt>
    <dgm:pt modelId="{F2823D88-DB37-406C-A6EA-7CBB4C3DF734}" type="sibTrans" cxnId="{0D96FC12-2E07-448C-9859-01184146EF05}">
      <dgm:prSet/>
      <dgm:spPr/>
      <dgm:t>
        <a:bodyPr/>
        <a:lstStyle/>
        <a:p>
          <a:endParaRPr lang="en-US"/>
        </a:p>
      </dgm:t>
    </dgm:pt>
    <dgm:pt modelId="{0178460F-02C6-4E33-80FC-8878CE42F270}" type="pres">
      <dgm:prSet presAssocID="{EFD55982-7060-4DDA-AB01-35392163D95A}" presName="hierChild1" presStyleCnt="0">
        <dgm:presLayoutVars>
          <dgm:chPref val="1"/>
          <dgm:dir/>
          <dgm:animOne val="branch"/>
          <dgm:animLvl val="lvl"/>
          <dgm:resizeHandles/>
        </dgm:presLayoutVars>
      </dgm:prSet>
      <dgm:spPr/>
    </dgm:pt>
    <dgm:pt modelId="{76AA01A2-4592-47E7-AA63-C5DD574D967A}" type="pres">
      <dgm:prSet presAssocID="{1DE7F750-9C03-4CF9-90A7-F845BB109B6F}" presName="hierRoot1" presStyleCnt="0"/>
      <dgm:spPr/>
    </dgm:pt>
    <dgm:pt modelId="{FD9F093A-9E16-46B9-AA71-DF45DEB4B2E2}" type="pres">
      <dgm:prSet presAssocID="{1DE7F750-9C03-4CF9-90A7-F845BB109B6F}" presName="composite" presStyleCnt="0"/>
      <dgm:spPr/>
    </dgm:pt>
    <dgm:pt modelId="{3B8C864E-1894-4129-8CDD-CE2BFA980AA4}" type="pres">
      <dgm:prSet presAssocID="{1DE7F750-9C03-4CF9-90A7-F845BB109B6F}" presName="background" presStyleLbl="node0" presStyleIdx="0" presStyleCnt="2"/>
      <dgm:spPr/>
    </dgm:pt>
    <dgm:pt modelId="{CDA557C7-8F8E-4FB4-9D2A-6D43A7C4EB52}" type="pres">
      <dgm:prSet presAssocID="{1DE7F750-9C03-4CF9-90A7-F845BB109B6F}" presName="text" presStyleLbl="fgAcc0" presStyleIdx="0" presStyleCnt="2">
        <dgm:presLayoutVars>
          <dgm:chPref val="3"/>
        </dgm:presLayoutVars>
      </dgm:prSet>
      <dgm:spPr/>
    </dgm:pt>
    <dgm:pt modelId="{70759CA0-35F0-4E16-BAF2-2D269734472A}" type="pres">
      <dgm:prSet presAssocID="{1DE7F750-9C03-4CF9-90A7-F845BB109B6F}" presName="hierChild2" presStyleCnt="0"/>
      <dgm:spPr/>
    </dgm:pt>
    <dgm:pt modelId="{AC5AD347-2625-4BF3-9644-DDAA10F2552C}" type="pres">
      <dgm:prSet presAssocID="{A6A09C92-BE38-4872-8B02-1370517E2C15}" presName="hierRoot1" presStyleCnt="0"/>
      <dgm:spPr/>
    </dgm:pt>
    <dgm:pt modelId="{3533653E-CDFC-4D75-89EF-0B7A269502FD}" type="pres">
      <dgm:prSet presAssocID="{A6A09C92-BE38-4872-8B02-1370517E2C15}" presName="composite" presStyleCnt="0"/>
      <dgm:spPr/>
    </dgm:pt>
    <dgm:pt modelId="{5A17E63D-1F6B-492B-8E8E-A42A1610D6EE}" type="pres">
      <dgm:prSet presAssocID="{A6A09C92-BE38-4872-8B02-1370517E2C15}" presName="background" presStyleLbl="node0" presStyleIdx="1" presStyleCnt="2"/>
      <dgm:spPr/>
    </dgm:pt>
    <dgm:pt modelId="{9BE3B309-BB30-44BB-94B0-927891434EF5}" type="pres">
      <dgm:prSet presAssocID="{A6A09C92-BE38-4872-8B02-1370517E2C15}" presName="text" presStyleLbl="fgAcc0" presStyleIdx="1" presStyleCnt="2">
        <dgm:presLayoutVars>
          <dgm:chPref val="3"/>
        </dgm:presLayoutVars>
      </dgm:prSet>
      <dgm:spPr/>
    </dgm:pt>
    <dgm:pt modelId="{981CB27A-6BF8-4378-9609-2DB03358571D}" type="pres">
      <dgm:prSet presAssocID="{A6A09C92-BE38-4872-8B02-1370517E2C15}" presName="hierChild2" presStyleCnt="0"/>
      <dgm:spPr/>
    </dgm:pt>
  </dgm:ptLst>
  <dgm:cxnLst>
    <dgm:cxn modelId="{0D96FC12-2E07-448C-9859-01184146EF05}" srcId="{EFD55982-7060-4DDA-AB01-35392163D95A}" destId="{A6A09C92-BE38-4872-8B02-1370517E2C15}" srcOrd="1" destOrd="0" parTransId="{EC8366E5-F060-4482-B678-54BE76DC6582}" sibTransId="{F2823D88-DB37-406C-A6EA-7CBB4C3DF734}"/>
    <dgm:cxn modelId="{B85D2134-B015-42C6-AD04-239197665E81}" srcId="{EFD55982-7060-4DDA-AB01-35392163D95A}" destId="{1DE7F750-9C03-4CF9-90A7-F845BB109B6F}" srcOrd="0" destOrd="0" parTransId="{5BAAE781-7AE2-4AB2-8242-BF3B08953B6F}" sibTransId="{C8AB0A74-F142-4086-BA2F-D687D9263EFB}"/>
    <dgm:cxn modelId="{80AB1EBA-F24F-4695-B265-D84107C1A8AB}" type="presOf" srcId="{EFD55982-7060-4DDA-AB01-35392163D95A}" destId="{0178460F-02C6-4E33-80FC-8878CE42F270}" srcOrd="0" destOrd="0" presId="urn:microsoft.com/office/officeart/2005/8/layout/hierarchy1"/>
    <dgm:cxn modelId="{B222AABC-C0DE-407A-9F52-747DF6AEFF12}" type="presOf" srcId="{A6A09C92-BE38-4872-8B02-1370517E2C15}" destId="{9BE3B309-BB30-44BB-94B0-927891434EF5}" srcOrd="0" destOrd="0" presId="urn:microsoft.com/office/officeart/2005/8/layout/hierarchy1"/>
    <dgm:cxn modelId="{3F9450C9-1A14-4918-A135-53524B79E62E}" type="presOf" srcId="{1DE7F750-9C03-4CF9-90A7-F845BB109B6F}" destId="{CDA557C7-8F8E-4FB4-9D2A-6D43A7C4EB52}" srcOrd="0" destOrd="0" presId="urn:microsoft.com/office/officeart/2005/8/layout/hierarchy1"/>
    <dgm:cxn modelId="{46883E19-CB60-4416-ACEA-00E7A2FF11B6}" type="presParOf" srcId="{0178460F-02C6-4E33-80FC-8878CE42F270}" destId="{76AA01A2-4592-47E7-AA63-C5DD574D967A}" srcOrd="0" destOrd="0" presId="urn:microsoft.com/office/officeart/2005/8/layout/hierarchy1"/>
    <dgm:cxn modelId="{66FD5C97-9DF5-462B-8A9D-F32A98450273}" type="presParOf" srcId="{76AA01A2-4592-47E7-AA63-C5DD574D967A}" destId="{FD9F093A-9E16-46B9-AA71-DF45DEB4B2E2}" srcOrd="0" destOrd="0" presId="urn:microsoft.com/office/officeart/2005/8/layout/hierarchy1"/>
    <dgm:cxn modelId="{A97F684F-65CC-44E7-B35D-716DEB81A254}" type="presParOf" srcId="{FD9F093A-9E16-46B9-AA71-DF45DEB4B2E2}" destId="{3B8C864E-1894-4129-8CDD-CE2BFA980AA4}" srcOrd="0" destOrd="0" presId="urn:microsoft.com/office/officeart/2005/8/layout/hierarchy1"/>
    <dgm:cxn modelId="{93315547-4566-412B-B882-AC7F3DF30A3D}" type="presParOf" srcId="{FD9F093A-9E16-46B9-AA71-DF45DEB4B2E2}" destId="{CDA557C7-8F8E-4FB4-9D2A-6D43A7C4EB52}" srcOrd="1" destOrd="0" presId="urn:microsoft.com/office/officeart/2005/8/layout/hierarchy1"/>
    <dgm:cxn modelId="{6CBD8D1D-396F-48EE-968B-9C31DCCB5D78}" type="presParOf" srcId="{76AA01A2-4592-47E7-AA63-C5DD574D967A}" destId="{70759CA0-35F0-4E16-BAF2-2D269734472A}" srcOrd="1" destOrd="0" presId="urn:microsoft.com/office/officeart/2005/8/layout/hierarchy1"/>
    <dgm:cxn modelId="{DD35D9CD-8E6F-401E-871B-763E0BE540DE}" type="presParOf" srcId="{0178460F-02C6-4E33-80FC-8878CE42F270}" destId="{AC5AD347-2625-4BF3-9644-DDAA10F2552C}" srcOrd="1" destOrd="0" presId="urn:microsoft.com/office/officeart/2005/8/layout/hierarchy1"/>
    <dgm:cxn modelId="{7410BC0D-27A8-45DD-B3DC-86317400603E}" type="presParOf" srcId="{AC5AD347-2625-4BF3-9644-DDAA10F2552C}" destId="{3533653E-CDFC-4D75-89EF-0B7A269502FD}" srcOrd="0" destOrd="0" presId="urn:microsoft.com/office/officeart/2005/8/layout/hierarchy1"/>
    <dgm:cxn modelId="{9015BA30-9525-48D1-8345-CAF1BE3C0151}" type="presParOf" srcId="{3533653E-CDFC-4D75-89EF-0B7A269502FD}" destId="{5A17E63D-1F6B-492B-8E8E-A42A1610D6EE}" srcOrd="0" destOrd="0" presId="urn:microsoft.com/office/officeart/2005/8/layout/hierarchy1"/>
    <dgm:cxn modelId="{E945C7F0-A5DE-4004-9E24-CBAE61EC08BF}" type="presParOf" srcId="{3533653E-CDFC-4D75-89EF-0B7A269502FD}" destId="{9BE3B309-BB30-44BB-94B0-927891434EF5}" srcOrd="1" destOrd="0" presId="urn:microsoft.com/office/officeart/2005/8/layout/hierarchy1"/>
    <dgm:cxn modelId="{8A1C02F6-762C-4B12-86B7-F46A0EB4D192}" type="presParOf" srcId="{AC5AD347-2625-4BF3-9644-DDAA10F2552C}" destId="{981CB27A-6BF8-4378-9609-2DB03358571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D39FF-FA19-4253-BC30-8EBE30408640}">
      <dsp:nvSpPr>
        <dsp:cNvPr id="0" name=""/>
        <dsp:cNvSpPr/>
      </dsp:nvSpPr>
      <dsp:spPr>
        <a:xfrm>
          <a:off x="-6526437" y="-998916"/>
          <a:ext cx="7774092" cy="7774092"/>
        </a:xfrm>
        <a:prstGeom prst="blockArc">
          <a:avLst>
            <a:gd name="adj1" fmla="val 18900000"/>
            <a:gd name="adj2" fmla="val 2700000"/>
            <a:gd name="adj3" fmla="val 278"/>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8F195E3-59B5-44A2-88E8-6615A5F1FF57}">
      <dsp:nvSpPr>
        <dsp:cNvPr id="0" name=""/>
        <dsp:cNvSpPr/>
      </dsp:nvSpPr>
      <dsp:spPr>
        <a:xfrm>
          <a:off x="405204" y="262588"/>
          <a:ext cx="10693682"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a:t>Design for Scalability</a:t>
          </a:r>
          <a:endParaRPr lang="en-IN" sz="2700" kern="1200"/>
        </a:p>
      </dsp:txBody>
      <dsp:txXfrm>
        <a:off x="405204" y="262588"/>
        <a:ext cx="10693682" cy="524946"/>
      </dsp:txXfrm>
    </dsp:sp>
    <dsp:sp modelId="{3F38539F-19DD-4939-B89F-F10688FFAC5D}">
      <dsp:nvSpPr>
        <dsp:cNvPr id="0" name=""/>
        <dsp:cNvSpPr/>
      </dsp:nvSpPr>
      <dsp:spPr>
        <a:xfrm>
          <a:off x="77113" y="196970"/>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12AD02B-3B9D-44D3-A18A-1E93011253A4}">
      <dsp:nvSpPr>
        <dsp:cNvPr id="0" name=""/>
        <dsp:cNvSpPr/>
      </dsp:nvSpPr>
      <dsp:spPr>
        <a:xfrm>
          <a:off x="880590" y="1050470"/>
          <a:ext cx="10218296"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a:t>Design for High Availability</a:t>
          </a:r>
          <a:endParaRPr lang="en-IN" sz="2700" kern="1200"/>
        </a:p>
      </dsp:txBody>
      <dsp:txXfrm>
        <a:off x="880590" y="1050470"/>
        <a:ext cx="10218296" cy="524946"/>
      </dsp:txXfrm>
    </dsp:sp>
    <dsp:sp modelId="{F036B57F-F926-45CA-9987-6C3971C2987A}">
      <dsp:nvSpPr>
        <dsp:cNvPr id="0" name=""/>
        <dsp:cNvSpPr/>
      </dsp:nvSpPr>
      <dsp:spPr>
        <a:xfrm>
          <a:off x="552499" y="984852"/>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22BEDB5-5CB6-4F7E-9EB4-424A16466821}">
      <dsp:nvSpPr>
        <dsp:cNvPr id="0" name=""/>
        <dsp:cNvSpPr/>
      </dsp:nvSpPr>
      <dsp:spPr>
        <a:xfrm>
          <a:off x="1141099" y="1837774"/>
          <a:ext cx="9957786"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a:t>Design for Resilience</a:t>
          </a:r>
          <a:endParaRPr lang="en-IN" sz="2700" kern="1200"/>
        </a:p>
      </dsp:txBody>
      <dsp:txXfrm>
        <a:off x="1141099" y="1837774"/>
        <a:ext cx="9957786" cy="524946"/>
      </dsp:txXfrm>
    </dsp:sp>
    <dsp:sp modelId="{0B9E893C-BE20-4B4C-8FF5-BB5B8A0F24D9}">
      <dsp:nvSpPr>
        <dsp:cNvPr id="0" name=""/>
        <dsp:cNvSpPr/>
      </dsp:nvSpPr>
      <dsp:spPr>
        <a:xfrm>
          <a:off x="813008" y="1772156"/>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0B15544-8FD3-417C-9531-5030FAEAB169}">
      <dsp:nvSpPr>
        <dsp:cNvPr id="0" name=""/>
        <dsp:cNvSpPr/>
      </dsp:nvSpPr>
      <dsp:spPr>
        <a:xfrm>
          <a:off x="1224278" y="2625656"/>
          <a:ext cx="9874608"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a:t>Design for Data</a:t>
          </a:r>
          <a:endParaRPr lang="en-IN" sz="2700" kern="1200"/>
        </a:p>
      </dsp:txBody>
      <dsp:txXfrm>
        <a:off x="1224278" y="2625656"/>
        <a:ext cx="9874608" cy="524946"/>
      </dsp:txXfrm>
    </dsp:sp>
    <dsp:sp modelId="{4DD2BD01-4968-464D-A348-F3110C7BEC0C}">
      <dsp:nvSpPr>
        <dsp:cNvPr id="0" name=""/>
        <dsp:cNvSpPr/>
      </dsp:nvSpPr>
      <dsp:spPr>
        <a:xfrm>
          <a:off x="896186" y="2560037"/>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DE1A8D3-91DF-4CF6-B9E8-C988E433F6DE}">
      <dsp:nvSpPr>
        <dsp:cNvPr id="0" name=""/>
        <dsp:cNvSpPr/>
      </dsp:nvSpPr>
      <dsp:spPr>
        <a:xfrm>
          <a:off x="1141099" y="3413538"/>
          <a:ext cx="9957786"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dirty="0"/>
            <a:t>Design for Messaging</a:t>
          </a:r>
          <a:endParaRPr lang="en-IN" sz="2700" kern="1200" dirty="0"/>
        </a:p>
      </dsp:txBody>
      <dsp:txXfrm>
        <a:off x="1141099" y="3413538"/>
        <a:ext cx="9957786" cy="524946"/>
      </dsp:txXfrm>
    </dsp:sp>
    <dsp:sp modelId="{E83A9286-EA0F-4A07-97F7-BBB8C926E4A4}">
      <dsp:nvSpPr>
        <dsp:cNvPr id="0" name=""/>
        <dsp:cNvSpPr/>
      </dsp:nvSpPr>
      <dsp:spPr>
        <a:xfrm>
          <a:off x="813008" y="3347919"/>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97E5AE27-3DE7-4F58-9863-32E787E4E9CD}">
      <dsp:nvSpPr>
        <dsp:cNvPr id="0" name=""/>
        <dsp:cNvSpPr/>
      </dsp:nvSpPr>
      <dsp:spPr>
        <a:xfrm>
          <a:off x="880590" y="4200842"/>
          <a:ext cx="10218296"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IN" sz="2700" i="0" kern="1200" baseline="0" dirty="0"/>
            <a:t>Design for Management and Monitoring</a:t>
          </a:r>
          <a:endParaRPr lang="en-IN" sz="2700" kern="1200" dirty="0"/>
        </a:p>
      </dsp:txBody>
      <dsp:txXfrm>
        <a:off x="880590" y="4200842"/>
        <a:ext cx="10218296" cy="524946"/>
      </dsp:txXfrm>
    </dsp:sp>
    <dsp:sp modelId="{B81380DA-F33A-4EC5-B44C-E8305F9D12D7}">
      <dsp:nvSpPr>
        <dsp:cNvPr id="0" name=""/>
        <dsp:cNvSpPr/>
      </dsp:nvSpPr>
      <dsp:spPr>
        <a:xfrm>
          <a:off x="552499" y="4135223"/>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46C442D-BD92-E94E-B463-6793899CD50C}">
      <dsp:nvSpPr>
        <dsp:cNvPr id="0" name=""/>
        <dsp:cNvSpPr/>
      </dsp:nvSpPr>
      <dsp:spPr>
        <a:xfrm>
          <a:off x="405204" y="4988723"/>
          <a:ext cx="10693682" cy="52494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6676" tIns="68580" rIns="68580" bIns="68580" numCol="1" spcCol="1270" anchor="ctr" anchorCtr="0">
          <a:noAutofit/>
        </a:bodyPr>
        <a:lstStyle/>
        <a:p>
          <a:pPr marL="0" lvl="0" indent="0" algn="l" defTabSz="1200150">
            <a:lnSpc>
              <a:spcPct val="90000"/>
            </a:lnSpc>
            <a:spcBef>
              <a:spcPct val="0"/>
            </a:spcBef>
            <a:spcAft>
              <a:spcPct val="35000"/>
            </a:spcAft>
            <a:buNone/>
          </a:pPr>
          <a:r>
            <a:rPr lang="en-GB" sz="2700" kern="1200" dirty="0"/>
            <a:t>Case Studies</a:t>
          </a:r>
        </a:p>
      </dsp:txBody>
      <dsp:txXfrm>
        <a:off x="405204" y="4988723"/>
        <a:ext cx="10693682" cy="524946"/>
      </dsp:txXfrm>
    </dsp:sp>
    <dsp:sp modelId="{96BE7D2A-6EA9-CE44-8496-7E9E111E012A}">
      <dsp:nvSpPr>
        <dsp:cNvPr id="0" name=""/>
        <dsp:cNvSpPr/>
      </dsp:nvSpPr>
      <dsp:spPr>
        <a:xfrm>
          <a:off x="77113" y="4923105"/>
          <a:ext cx="656183" cy="656183"/>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FB95B5-3E2E-42C8-8FD5-DEF181CA1143}">
      <dsp:nvSpPr>
        <dsp:cNvPr id="0" name=""/>
        <dsp:cNvSpPr/>
      </dsp:nvSpPr>
      <dsp:spPr>
        <a:xfrm>
          <a:off x="0" y="0"/>
          <a:ext cx="2021009" cy="3239964"/>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IN" sz="2400" b="0" i="0" kern="1200" baseline="0" dirty="0"/>
            <a:t>Scalability </a:t>
          </a:r>
          <a:endParaRPr lang="en-IN" sz="2400" kern="1200" dirty="0"/>
        </a:p>
      </dsp:txBody>
      <dsp:txXfrm>
        <a:off x="0" y="1295985"/>
        <a:ext cx="2021009" cy="1295985"/>
      </dsp:txXfrm>
    </dsp:sp>
    <dsp:sp modelId="{7A8819FB-6721-4EBD-8507-23574D424A79}">
      <dsp:nvSpPr>
        <dsp:cNvPr id="0" name=""/>
        <dsp:cNvSpPr/>
      </dsp:nvSpPr>
      <dsp:spPr>
        <a:xfrm>
          <a:off x="471050" y="194397"/>
          <a:ext cx="1078908" cy="1078908"/>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E587BF7C-09B4-47E2-84D5-E9D725285A30}">
      <dsp:nvSpPr>
        <dsp:cNvPr id="0" name=""/>
        <dsp:cNvSpPr/>
      </dsp:nvSpPr>
      <dsp:spPr>
        <a:xfrm>
          <a:off x="2081639" y="0"/>
          <a:ext cx="2021009" cy="3239964"/>
        </a:xfrm>
        <a:prstGeom prst="roundRect">
          <a:avLst>
            <a:gd name="adj" fmla="val 10000"/>
          </a:avLst>
        </a:prstGeom>
        <a:gradFill rotWithShape="0">
          <a:gsLst>
            <a:gs pos="0">
              <a:schemeClr val="accent2">
                <a:hueOff val="1170380"/>
                <a:satOff val="-1460"/>
                <a:lumOff val="343"/>
                <a:alphaOff val="0"/>
                <a:shade val="51000"/>
                <a:satMod val="130000"/>
              </a:schemeClr>
            </a:gs>
            <a:gs pos="80000">
              <a:schemeClr val="accent2">
                <a:hueOff val="1170380"/>
                <a:satOff val="-1460"/>
                <a:lumOff val="343"/>
                <a:alphaOff val="0"/>
                <a:shade val="93000"/>
                <a:satMod val="130000"/>
              </a:schemeClr>
            </a:gs>
            <a:gs pos="100000">
              <a:schemeClr val="accent2">
                <a:hueOff val="1170380"/>
                <a:satOff val="-1460"/>
                <a:lumOff val="34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IN" sz="2400" b="0" i="0" kern="1200" baseline="0" dirty="0"/>
            <a:t>Availability</a:t>
          </a:r>
          <a:endParaRPr lang="en-IN" sz="2400" kern="1200" dirty="0"/>
        </a:p>
      </dsp:txBody>
      <dsp:txXfrm>
        <a:off x="2081639" y="1295985"/>
        <a:ext cx="2021009" cy="1295985"/>
      </dsp:txXfrm>
    </dsp:sp>
    <dsp:sp modelId="{275E11E1-F034-47FE-949D-FA541FF4B957}">
      <dsp:nvSpPr>
        <dsp:cNvPr id="0" name=""/>
        <dsp:cNvSpPr/>
      </dsp:nvSpPr>
      <dsp:spPr>
        <a:xfrm>
          <a:off x="2552690" y="194397"/>
          <a:ext cx="1078908" cy="107890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9000" r="-49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B655592-E5B8-4257-A057-7F4602224DEE}">
      <dsp:nvSpPr>
        <dsp:cNvPr id="0" name=""/>
        <dsp:cNvSpPr/>
      </dsp:nvSpPr>
      <dsp:spPr>
        <a:xfrm>
          <a:off x="4163279" y="0"/>
          <a:ext cx="2021009" cy="3239964"/>
        </a:xfrm>
        <a:prstGeom prst="roundRect">
          <a:avLst>
            <a:gd name="adj" fmla="val 10000"/>
          </a:avLst>
        </a:prstGeom>
        <a:gradFill rotWithShape="0">
          <a:gsLst>
            <a:gs pos="0">
              <a:schemeClr val="accent2">
                <a:hueOff val="2340759"/>
                <a:satOff val="-2919"/>
                <a:lumOff val="686"/>
                <a:alphaOff val="0"/>
                <a:shade val="51000"/>
                <a:satMod val="130000"/>
              </a:schemeClr>
            </a:gs>
            <a:gs pos="80000">
              <a:schemeClr val="accent2">
                <a:hueOff val="2340759"/>
                <a:satOff val="-2919"/>
                <a:lumOff val="686"/>
                <a:alphaOff val="0"/>
                <a:shade val="93000"/>
                <a:satMod val="130000"/>
              </a:schemeClr>
            </a:gs>
            <a:gs pos="100000">
              <a:schemeClr val="accent2">
                <a:hueOff val="2340759"/>
                <a:satOff val="-2919"/>
                <a:lumOff val="68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IN" sz="2400" b="0" i="0" kern="1200" baseline="0" dirty="0"/>
            <a:t>Resiliency</a:t>
          </a:r>
          <a:endParaRPr lang="en-IN" sz="2400" kern="1200" dirty="0"/>
        </a:p>
      </dsp:txBody>
      <dsp:txXfrm>
        <a:off x="4163279" y="1295985"/>
        <a:ext cx="2021009" cy="1295985"/>
      </dsp:txXfrm>
    </dsp:sp>
    <dsp:sp modelId="{032E556F-1611-4CBB-9FB6-2A9DF0194E6C}">
      <dsp:nvSpPr>
        <dsp:cNvPr id="0" name=""/>
        <dsp:cNvSpPr/>
      </dsp:nvSpPr>
      <dsp:spPr>
        <a:xfrm>
          <a:off x="4634330" y="194397"/>
          <a:ext cx="1078908" cy="1078908"/>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4C9BCA02-1E57-4B00-9F34-AA94038BAC72}">
      <dsp:nvSpPr>
        <dsp:cNvPr id="0" name=""/>
        <dsp:cNvSpPr/>
      </dsp:nvSpPr>
      <dsp:spPr>
        <a:xfrm>
          <a:off x="6244919" y="0"/>
          <a:ext cx="2021009" cy="3239964"/>
        </a:xfrm>
        <a:prstGeom prst="roundRect">
          <a:avLst>
            <a:gd name="adj" fmla="val 10000"/>
          </a:avLst>
        </a:prstGeom>
        <a:gradFill rotWithShape="0">
          <a:gsLst>
            <a:gs pos="0">
              <a:schemeClr val="accent2">
                <a:hueOff val="3511139"/>
                <a:satOff val="-4379"/>
                <a:lumOff val="1030"/>
                <a:alphaOff val="0"/>
                <a:shade val="51000"/>
                <a:satMod val="130000"/>
              </a:schemeClr>
            </a:gs>
            <a:gs pos="80000">
              <a:schemeClr val="accent2">
                <a:hueOff val="3511139"/>
                <a:satOff val="-4379"/>
                <a:lumOff val="1030"/>
                <a:alphaOff val="0"/>
                <a:shade val="93000"/>
                <a:satMod val="130000"/>
              </a:schemeClr>
            </a:gs>
            <a:gs pos="100000">
              <a:schemeClr val="accent2">
                <a:hueOff val="3511139"/>
                <a:satOff val="-4379"/>
                <a:lumOff val="103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IN" sz="2400" b="0" i="0" kern="1200" baseline="0" dirty="0"/>
            <a:t>Management</a:t>
          </a:r>
          <a:endParaRPr lang="en-IN" sz="2400" kern="1200" dirty="0"/>
        </a:p>
      </dsp:txBody>
      <dsp:txXfrm>
        <a:off x="6244919" y="1295985"/>
        <a:ext cx="2021009" cy="1295985"/>
      </dsp:txXfrm>
    </dsp:sp>
    <dsp:sp modelId="{42F1935E-9B3C-4B2B-B59E-EEE1DF4BAD57}">
      <dsp:nvSpPr>
        <dsp:cNvPr id="0" name=""/>
        <dsp:cNvSpPr/>
      </dsp:nvSpPr>
      <dsp:spPr>
        <a:xfrm>
          <a:off x="6715970" y="194397"/>
          <a:ext cx="1078908" cy="1078908"/>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2000" r="-22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91DAA98C-C656-4330-B488-A43842493031}">
      <dsp:nvSpPr>
        <dsp:cNvPr id="0" name=""/>
        <dsp:cNvSpPr/>
      </dsp:nvSpPr>
      <dsp:spPr>
        <a:xfrm>
          <a:off x="8326559" y="0"/>
          <a:ext cx="2021009" cy="3239964"/>
        </a:xfrm>
        <a:prstGeom prst="roundRect">
          <a:avLst>
            <a:gd name="adj" fmla="val 10000"/>
          </a:avLst>
        </a:prstGeom>
        <a:gradFill rotWithShape="0">
          <a:gsLst>
            <a:gs pos="0">
              <a:schemeClr val="accent2">
                <a:hueOff val="4681519"/>
                <a:satOff val="-5839"/>
                <a:lumOff val="1373"/>
                <a:alphaOff val="0"/>
                <a:shade val="51000"/>
                <a:satMod val="130000"/>
              </a:schemeClr>
            </a:gs>
            <a:gs pos="80000">
              <a:schemeClr val="accent2">
                <a:hueOff val="4681519"/>
                <a:satOff val="-5839"/>
                <a:lumOff val="1373"/>
                <a:alphaOff val="0"/>
                <a:shade val="93000"/>
                <a:satMod val="130000"/>
              </a:schemeClr>
            </a:gs>
            <a:gs pos="100000">
              <a:schemeClr val="accent2">
                <a:hueOff val="4681519"/>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IN" sz="2400" b="0" i="0" kern="1200" baseline="0" dirty="0"/>
            <a:t>Security </a:t>
          </a:r>
          <a:endParaRPr lang="en-IN" sz="2400" kern="1200" dirty="0"/>
        </a:p>
      </dsp:txBody>
      <dsp:txXfrm>
        <a:off x="8326559" y="1295985"/>
        <a:ext cx="2021009" cy="1295985"/>
      </dsp:txXfrm>
    </dsp:sp>
    <dsp:sp modelId="{02A7216A-0C7E-4A83-BCB6-9C97C7D60641}">
      <dsp:nvSpPr>
        <dsp:cNvPr id="0" name=""/>
        <dsp:cNvSpPr/>
      </dsp:nvSpPr>
      <dsp:spPr>
        <a:xfrm>
          <a:off x="8797610" y="194397"/>
          <a:ext cx="1078908" cy="1078908"/>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39000" r="-39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C16419E3-4341-470F-865F-C68D126B3466}">
      <dsp:nvSpPr>
        <dsp:cNvPr id="0" name=""/>
        <dsp:cNvSpPr/>
      </dsp:nvSpPr>
      <dsp:spPr>
        <a:xfrm>
          <a:off x="413902" y="2591971"/>
          <a:ext cx="9519763" cy="485994"/>
        </a:xfrm>
        <a:prstGeom prst="leftRightArrow">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F53DE6-E128-4636-A711-88C58CF614F7}">
      <dsp:nvSpPr>
        <dsp:cNvPr id="0" name=""/>
        <dsp:cNvSpPr/>
      </dsp:nvSpPr>
      <dsp:spPr>
        <a:xfrm>
          <a:off x="1364"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3C470284-986D-4A64-8E20-AF10551FCC84}">
      <dsp:nvSpPr>
        <dsp:cNvPr id="0" name=""/>
        <dsp:cNvSpPr/>
      </dsp:nvSpPr>
      <dsp:spPr>
        <a:xfrm>
          <a:off x="533424"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b="0" i="0" kern="1200" baseline="0"/>
            <a:t>Availability is the proportion of time that the system is functional and working. </a:t>
          </a:r>
          <a:endParaRPr lang="en-US" sz="3100" kern="1200"/>
        </a:p>
      </dsp:txBody>
      <dsp:txXfrm>
        <a:off x="622484" y="1564625"/>
        <a:ext cx="4610424" cy="2862606"/>
      </dsp:txXfrm>
    </dsp:sp>
    <dsp:sp modelId="{DDFEBD5D-59F5-45D4-95CA-6D11A5964920}">
      <dsp:nvSpPr>
        <dsp:cNvPr id="0" name=""/>
        <dsp:cNvSpPr/>
      </dsp:nvSpPr>
      <dsp:spPr>
        <a:xfrm>
          <a:off x="5854030"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68ACF67D-186A-4D88-9EC9-A6C53CAAD861}">
      <dsp:nvSpPr>
        <dsp:cNvPr id="0" name=""/>
        <dsp:cNvSpPr/>
      </dsp:nvSpPr>
      <dsp:spPr>
        <a:xfrm>
          <a:off x="6386090"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b="0" i="0" kern="1200" baseline="0"/>
            <a:t>It is usually measured as a percentage of uptime. Application errors, infrastructure problems, and system load can all reduce availability.</a:t>
          </a:r>
          <a:endParaRPr lang="en-US" sz="3100" kern="1200"/>
        </a:p>
      </dsp:txBody>
      <dsp:txXfrm>
        <a:off x="6475150" y="1564625"/>
        <a:ext cx="4610424" cy="28626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F2F3B2-759F-41DF-A8ED-303FC73EFAED}">
      <dsp:nvSpPr>
        <dsp:cNvPr id="0" name=""/>
        <dsp:cNvSpPr/>
      </dsp:nvSpPr>
      <dsp:spPr>
        <a:xfrm>
          <a:off x="1364"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D4D945BC-5DC7-4F72-AFCE-680B4B6977D7}">
      <dsp:nvSpPr>
        <dsp:cNvPr id="0" name=""/>
        <dsp:cNvSpPr/>
      </dsp:nvSpPr>
      <dsp:spPr>
        <a:xfrm>
          <a:off x="533424"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b="0" i="0" kern="1200" baseline="0"/>
            <a:t>Resiliency is the ability of the system to recover from failures and continue to function. </a:t>
          </a:r>
          <a:endParaRPr lang="en-US" sz="3100" kern="1200"/>
        </a:p>
      </dsp:txBody>
      <dsp:txXfrm>
        <a:off x="622484" y="1564625"/>
        <a:ext cx="4610424" cy="2862606"/>
      </dsp:txXfrm>
    </dsp:sp>
    <dsp:sp modelId="{8E1325E8-883D-4805-A1DE-C6ACAC372A28}">
      <dsp:nvSpPr>
        <dsp:cNvPr id="0" name=""/>
        <dsp:cNvSpPr/>
      </dsp:nvSpPr>
      <dsp:spPr>
        <a:xfrm>
          <a:off x="5854030"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31D85D00-FFB4-4DA6-9EF3-1102F345C7CC}">
      <dsp:nvSpPr>
        <dsp:cNvPr id="0" name=""/>
        <dsp:cNvSpPr/>
      </dsp:nvSpPr>
      <dsp:spPr>
        <a:xfrm>
          <a:off x="6386090"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b="0" i="0" kern="1200" baseline="0"/>
            <a:t>The goal of resiliency is to return the application to a fully functioning state after a failure occurs. Resiliency is closely related to availability.</a:t>
          </a:r>
          <a:endParaRPr lang="en-US" sz="3100" kern="1200"/>
        </a:p>
      </dsp:txBody>
      <dsp:txXfrm>
        <a:off x="6475150" y="1564625"/>
        <a:ext cx="4610424" cy="28626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C864E-1894-4129-8CDD-CE2BFA980AA4}">
      <dsp:nvSpPr>
        <dsp:cNvPr id="0" name=""/>
        <dsp:cNvSpPr/>
      </dsp:nvSpPr>
      <dsp:spPr>
        <a:xfrm>
          <a:off x="1364"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CDA557C7-8F8E-4FB4-9D2A-6D43A7C4EB52}">
      <dsp:nvSpPr>
        <dsp:cNvPr id="0" name=""/>
        <dsp:cNvSpPr/>
      </dsp:nvSpPr>
      <dsp:spPr>
        <a:xfrm>
          <a:off x="533424"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b="0" i="0" kern="1200"/>
            <a:t>The distributed nature of cloud applications requires a messaging infrastructure that connects the components and services, ideally in a loosely coupled manner in order to maximize scalability. </a:t>
          </a:r>
          <a:endParaRPr lang="en-US" sz="2700" kern="1200"/>
        </a:p>
      </dsp:txBody>
      <dsp:txXfrm>
        <a:off x="622484" y="1564625"/>
        <a:ext cx="4610424" cy="2862606"/>
      </dsp:txXfrm>
    </dsp:sp>
    <dsp:sp modelId="{5A17E63D-1F6B-492B-8E8E-A42A1610D6EE}">
      <dsp:nvSpPr>
        <dsp:cNvPr id="0" name=""/>
        <dsp:cNvSpPr/>
      </dsp:nvSpPr>
      <dsp:spPr>
        <a:xfrm>
          <a:off x="5854030" y="970108"/>
          <a:ext cx="4788544" cy="3040726"/>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9BE3B309-BB30-44BB-94B0-927891434EF5}">
      <dsp:nvSpPr>
        <dsp:cNvPr id="0" name=""/>
        <dsp:cNvSpPr/>
      </dsp:nvSpPr>
      <dsp:spPr>
        <a:xfrm>
          <a:off x="6386090" y="1475565"/>
          <a:ext cx="4788544" cy="304072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b="0" i="0" kern="1200"/>
            <a:t>Asynchronous messaging is widely used, and provides many benefits, but also brings challenges such as the ordering of messages, poison message management, idempotency, and more.</a:t>
          </a:r>
          <a:endParaRPr lang="en-US" sz="2700" kern="1200"/>
        </a:p>
      </dsp:txBody>
      <dsp:txXfrm>
        <a:off x="6475150" y="1564625"/>
        <a:ext cx="4610424" cy="286260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6-10T17:18:14.329"/>
    </inkml:context>
    <inkml:brush xml:id="br0">
      <inkml:brushProperty name="width" value="0.05292" units="cm"/>
      <inkml:brushProperty name="height" value="0.05292" units="cm"/>
      <inkml:brushProperty name="color" value="#FF0000"/>
    </inkml:brush>
  </inkml:definitions>
  <inkml:trace contextRef="#ctx0" brushRef="#br0">8476 8263 24575,'0'-9'0,"0"0"0,0 3 0,0 2 0,0-3 0,-2 0 0,-1 2 0,-1-4 0,-6-2 0,1 2 0,-3-1 0,2 5 0,6 4 0,-1 1 0,1 0 0,-1 0 0,-8-2 0,3 1 0,-6-2 0,0 3 0,6 0 0,-10 0 0,10 0 0,-6 0 0,5 0 0,-1 0 0,-4 5 0,3-2 0,-3 4 0,5-3 0,-7 6 0,5-4 0,-4 4 0,8-5 0,-7 2 0,10-1 0,-7 4 0,8-5 0,-11 9 0,8-6 0,-13 6 0,6-6 0,-8 9 0,6-6 0,-7 10 0,1-3 0,5-4 0,2-1 0,1-1 0,5-4 0,-13 12 0,16-12 0,-3 2 0,5-5 0,-5 5 0,4-4 0,-5 7 0,6-8 0,0 3 0,3-3 0,-1 1 0,0 0 0,0 3 0,-1-4 0,1 5 0,3-4 0,-4 5 0,-1 2 0,2-3 0,-2 10 0,5-5 0,0 2 0,0 3 0,0-3 0,0-2 0,0 0 0,0-8 0,0 4 0,0-5 0,5 10 0,-4-6 0,13 12 0,-12-11 0,12 14 0,-11-13 0,8 13 0,-7-13 0,5 4 0,-3-4 0,2-1 0,4 7 0,2 1 0,4 2 0,-3 2 0,2-3 0,-3 0 0,1-5 0,5 1 0,-7-11 0,9 9 0,0-3 0,5 1 0,-9-2 0,0-1-689,10 4 689,-6-2 0,0-2 0,11-2 0,-14 1 0,0-1 0,15 0 0,-2-1 0,0-1 0,-9-4 0,-1-2-655,0 3 0,-1 0 655,2-3 0,1-1 0,-1 2 0,0-3 0,-1-5 0,-1-2 0,7-3 0,-11 1 0,-2-1 0,0 0 0,0-2 0,-4 3 642,-8 6-642,1-2 1357,2-5-1357,-3 3 0,2-6 0,0-1 0,-2-8 0,0-4 0,0-2 0,3 0 0,-5 9 0,5-4 0,-6 4 0,0-4 0,0-1 0,0 0 0,0 6 0,0-4 0,0 6 0,0-7 0,0 9 0,0-3 0,0-2 0,0 7 0,0-10 0,-2 11 0,-1-8 0,-2 5 0,2 1 0,-2 4 0,4 3 0,-5-6 0,6 7 0,-4-7 0,2 5 0,-1 3 0,-1-2 0,2 2 0,-1 2 0,1-6 0,1 6 0,0-2 0,-1 1 0,1 3 0,-1-2 0,0 2 0,-1 0 0,0 1 0,-1 1 0,-1 0 0,-1-2 0,0-2 0,1 2 0,-3 0 0,0 1 0,-2-3 0,3 2 0,2-4 0,1 5 0,-1-2 0,-1-1 0,0 0 0,0 1 0,0 0 0,0 0 0,-7-4 0,1-1 0,-5 0 0,-3-7 0,10 11 0,-5-5 0,9 8 0,0-2 0,0 2 0,2-2 0,-1 2 0,2-1 0,0 3 0,1-1 0,1 1 0</inkml:trace>
  <inkml:trace contextRef="#ctx0" brushRef="#br0" timeOffset="7920">30940 8273 24575,'-11'0'0,"3"0"0,2 0 0,1-2 0,-3 0 0,1 0 0,-4 1 0,5 1 0,-10-3 0,-8 3 0,0-3 0,-2 3 0,5 0 0,12 0 0,-10 0 0,13 0 0,-7 0 0,7 0 0,-2 0 0,3 0 0,0 0 0,2 0 0,-2 0 0,2 2 0,-1-2 0,1 1 0,-4-1 0,1 3 0,-2 0 0,2 2 0,0 1 0,-1-2 0,-4 7 0,2-4 0,0 2 0,3-3 0,3-3 0,-1 2 0,1-2 0,-2 1 0,1 1 0,-1-1 0,-5 6 0,3-1 0,-4 2 0,5-3 0,0-2 0,1 0 0,-2 3 0,4-4 0,-2 2 0,-4 2 0,5-5 0,-6 9 0,6-8 0,0 2 0,0-1 0,1-3 0,0 3 0,0-3 0,1 2 0,0-2 0,1 0 0,0 0 0,-1 3 0,2-2 0,-4 7 0,4-7 0,-4 4 0,2-3 0,-1 1 0,0-1 0,3 3 0,-2-3 0,1 6 0,0-6 0,-1 2 0,-1 0 0,2-3 0,-4 2 0,5 1 0,-1-3 0,1 11 0,0-10 0,0 8 0,0-10 0,0 2 0,0-1 0,0 1 0,0-1 0,0 2 0,0 1 0,0 0 0,0 1 0,0-2 0,0 0 0,0 0 0,0-1 0,0 3 0,0-4 0,0 3 0,0-4 0,0 1 0,0 1 0,0 0 0,0 0 0,0-1 0,0 0 0,0 3 0,0-3 0,0 4 0,0-3 0,0 1 0,0 2 0,0-3 0,0 4 0,0-2 0,0-2 0,1 6 0,0-6 0,1 3 0,-1-2 0,-1-1 0,3 1 0,-3-1 0,3 1 0,-3 0 0,4 0 0,-3-2 0,4 5 0,-4-4 0,3 6 0,5 0 0,-2 1 0,9 8 0,-7-10 0,2 7 0,-6-10 0,-1 0 0,6 3 0,-4-4 0,13 10 0,-8-8 0,11 6 0,-5-4 0,5-2 0,4 6 0,-4-7 0,-4 2 0,-1 0 0,7-2 0,6 8 0,-4-6 0,-10-3 0,4 1 0,-13-5 0,0 0 0,1-1 0,-3-1 0,6 2 0,-4-2 0,4 2 0,-4-2 0,4 3 0,-5-2 0,10 3 0,-2-4 0,1 0 0,5 0 0,-10 0 0,4-2 0,-7 2 0,-1-3 0,-2 0 0,1 0 0,-2-3 0,-1-1 0,-1 0 0,-1-4 0,2 5 0,-2-10 0,4 2 0,-2-8 0,4 5 0,-5-8 0,3 7 0,-1-13 0,0 9 0,5-4 0,-4 0 0,4-1-372,-6 7 1,0-1 371,3-13 0,-5 14 0,1 0 0,7-7 0,-7-3 0,6 2 0,-6 8 0,4-4 0,-4 5 0,1-8 0,-2-9 0,3 3 0,-2 2 0,6 5 0,-5 11 0,2 0 0,-4 5 0,0-1 743,0-1-743,0 1 0,0 3 0,0-3 0,-1 7 0,1-3 0,-2 3 0,1 1 0,-1-2 0,-1 2 0,-1-1 0,1 0 0,-3 0 0,3 2 0,-2 1 0,2 1 0,-1 0 0,-1 0 0,-4 0 0,2 0 0,-3 0 0,4 0 0,1 0 0,-3 0 0,3 0 0,-4 0 0,3 0 0,1 0 0,-3 0 0,4 0 0,-3 0 0,1 0 0,2 0 0,-3 0 0,3 0 0,0 0 0,0 0 0,2 0 0,1 0 0</inkml:trace>
  <inkml:trace contextRef="#ctx0" brushRef="#br0" timeOffset="38856">17638 13283 24575,'23'12'0,"0"0"0,-1 0 0,4 2 0,-1 1 0,5 2 0,2 0 0,2-1-656,-3-4 1,1-2-1,2 1 1,0-1 0,-1 0-1,-2 2 1,0 0-1,-1 0 1,1 0 0,2-1 108,-2-3 1,2 0 0,1-1 0,0 0 0,-2 0 0,-2 0 24,4 2 0,-2 0 1,0-1-1,0 1 522,-1-2 0,0 0 0,0 0 0,1 0 0,-2 0-230,6 1 0,-1-1 0,-1 1 0,1 0 230,-5 0 0,-1 0 0,1 0 0,-1 0 0,0 0 0,5 1 0,-1 0 0,0 0 0,0 0 0,-3 0 0,1 0 0,-1 0 0,1-1-484,1 0 1,1 0 0,0-1 0,-1 0 483,-2 0 0,0-2 0,0 1 0,0-1 267,0-1 0,1-1 0,0 0 0,-1 0-267,0 0 0,0-1 0,0 0 0,0-1 0,-1 0 0,-1-2 0,0 1 0,0 0-133,3 0 1,-1 0-1,1 0 1,0 0 132,0 0 0,1 0 0,0 0 0,-1 0 0,1 0 0,0 0 0,0 0 0,0 0 0,1 0 0,0 0 0,1 0 0,-1 0 0,-1 0 0,0 0 0,0 0 0,-1 0 64,1 0 0,0 0 0,0 0 1,-1 0-65,0 0 0,0-1 0,-1 0 0,0-1 0,7-2 0,-1-1 0,0-2 0,-7 2 0,0 0 0,-1-1 0,0-1 0,7-3 0,-1-2 0,1 0 253,-1 3 1,0 0 0,1 1-254,0-2 0,1 0 0,-2 1 0,-4 4 0,-1 1 0,1-1 0,1 0 0,2-1 0,-2 1 0,-3 2 0,0 1 0,-1-1 0,1-1 0,-1 0 0,0 0 0,9 0 0,0-1 0,-3 1 0,0 0 493,-5 2 0,1 1-493,3 1 0,1 0 0,-4 0 0,0 0 0,-4 0 0,0 0 0,0 0 0,7 0 0,0 0 0,-7 0 0,0 0 0,0 0 0,9 0 0,0 0 0,-3 0 0,0 0 0,-4 0 0,-2 0 1432,0 0 1,-1 0-1433,-5 0 0,0 0 0,7 0 0,-1 0 0,-3 0 0,-2 0 0,13 0 0,-13 0 0,-2 0 3276,2 5-2790,6-2 2465,-8 9-2951,-9-6 1946,10 13-1946,-8-4 705,3 4-705,-7-3 0,-5-7 0,0 0 0,-2-5 0,0 4 0,0-4 0,0 3 0,0-3 0,0 0 0,-3 1 0,1-1 0,-11 1 0,0 2 0,-8-1 0,-10 2 0,3 4-494,-8-4 494,5 4 0,-1-6 0,1 3 0,8-5 0,-6 2 0,15-6 0,-2 0 0,9 0 0,2 0 494,2-2-494,-1 1 0,0-11 0,2 4 0,-1-8 0,3 4 0,0-4 0,0 3 0,0-12 0,4 12 0,-2-5 0,5 7 0,1 3 0,-1 1 0,14-9 0,9 5-885,-11-1 1,1 1 884,7 4 0,1 1 0,-4-2 0,0 0 0,10 0 0,2 0 0,-5-1 0,2 1 0,-6 2 0,2 1 0,0 0-1093,-1 1 1,-1 0 0,1 0 898,2 1 1,1 0-1,0 1 194,-2-1 0,0 0 0,0 0-914,2 1 1,-1-1 0,0 0 913,-1-1 0,0 0 0,1 0 0,0 1 0,1 0 0,0 0 0,-4 0 0,1 0 0,-1 0-582,2 2 1,0-1 0,-1 2 581,-2-1 0,-1 2 0,1-1 0,1 0 0,1 0 0,-1 0 0,0 0 0,1 0 0,-1 0 0,-1 0 0,-1 0 0,1 0 0,1 0 0,0 0 0,0 0 0,0 0 0,0-1 0,1 2 0,-1 0 0,1 0 0,0 0 0,2 0 0,0-1 0,0 0 0,0 1 0,-1 1 0,0-1 0,1-1 0,1 0 0,0 0-317,0 0 1,-1 0 0,1 0 316,-3 0 0,-1 0 0,1 0 0,-1 0 0,0 0 0,-1 0 464,10 0 1,0 0-465,-11 0 0,1 0 0,-1 0 0,1 0 0,0 0 0,0 0 0,1 0 0,1 0 0,-1 0 0,9 0 0,0 0 0,-9 0 0,0 0 0,-1 0 0,6 0 0,0 0 0,4 0 0,-1 0 0,-6 0 0,-1 0 789,0 0 1,0 0-790,-4 0 0,-1 0 0,0 0 0,0 0 0,14 0 0,-1 0 0,-9 0 2007,3 0-2007,-14 0 2854,4 0-2854,-6 0 2461,-4 0-2461,14 0 1230,-8 0-1230,5 0 0,-5 0 0,0 0 0,2 0 0,3-3 0,5-3 0,-3 2 0,7-1 0,-3 5 0,0 0 0,4 0 0,5 0-564,-13 0 0,1 0 564,-2 0 0,0 0 0,1 0 0,-1 0-37,9 0 37,-4-3 0,4 3 0,-4-5 0,4 1 0,1 1-634,-1-6 634,1 5 0,-5-2 0,-6 3 0,0 0 1089,-4 3-1089,0-4 37,-1 3-37,0 0 0,1 1 0,9-6 0,-3 5 0,12-8 673,-16 8-673,6-2 0,-14 3 0,-3-1 0,-1 0 0,-4-1 0,0 0 0,-1-1 0,-1-2 0,-1-2 0,0 2 0,0-6 0,0 6 0,0-4 0,0 3 0,0 2 0,0-1 0,0 1 0,0 0 0,0 0 0,0 1 0,0-1 0,0 0 0,0 0 0,0 1 0,3-2 0,-2 2 0,3-1 0,-4 0 0,1 0 0,1-1 0,-2 1 0,3-2 0,-2 1 0,2 0 0,2-6 0,-1 3 0,1-4 0,-2 4 0,0 3 0,0-1 0,-1 4 0,0-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6-10T17:22:00.780"/>
    </inkml:context>
    <inkml:brush xml:id="br0">
      <inkml:brushProperty name="width" value="0.05292" units="cm"/>
      <inkml:brushProperty name="height" value="0.05292" units="cm"/>
      <inkml:brushProperty name="color" value="#FF0000"/>
    </inkml:brush>
  </inkml:definitions>
  <inkml:trace contextRef="#ctx0" brushRef="#br0">7127 15172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4D3724-BFEC-4B2F-9B16-36319C1B4F96}" type="datetimeFigureOut">
              <a:rPr lang="en-IN" smtClean="0"/>
              <a:t>10/06/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996846-AE39-468A-975A-8BF696CEE41E}" type="slidenum">
              <a:rPr lang="en-IN" smtClean="0"/>
              <a:t>‹#›</a:t>
            </a:fld>
            <a:endParaRPr lang="en-IN"/>
          </a:p>
        </p:txBody>
      </p:sp>
    </p:spTree>
    <p:extLst>
      <p:ext uri="{BB962C8B-B14F-4D97-AF65-F5344CB8AC3E}">
        <p14:creationId xmlns:p14="http://schemas.microsoft.com/office/powerpoint/2010/main" val="410912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frontdoor"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services/traffic-manager" TargetMode="External"/><Relationship Id="rId7" Type="http://schemas.openxmlformats.org/officeDocument/2006/relationships/hyperlink" Target="https://docs.microsoft.com/en-us/sql/database-engine/availability-groups/windows/always-on-availability-groups-sql-server?view=sql-server-ver15&amp;preserve-view=true"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azure/resource-group-link-resources" TargetMode="External"/><Relationship Id="rId5" Type="http://schemas.openxmlformats.org/officeDocument/2006/relationships/hyperlink" Target="https://docs.microsoft.com/en-us/azure/azure-resource-manager/resource-group-overview" TargetMode="External"/><Relationship Id="rId4" Type="http://schemas.openxmlformats.org/officeDocument/2006/relationships/hyperlink" Target="https://docs.microsoft.com/en-us/azure/architecture/reference-architectures/n-tier/multi-region-sql-server#traffic-manager-configuratio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powerbi.microsoft.com/" TargetMode="External"/><Relationship Id="rId3" Type="http://schemas.openxmlformats.org/officeDocument/2006/relationships/hyperlink" Target="https://azure.microsoft.com/services/synapse-analytics" TargetMode="External"/><Relationship Id="rId7" Type="http://schemas.openxmlformats.org/officeDocument/2006/relationships/hyperlink" Target="https://azure.microsoft.com/services/analysis-services"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docs.microsoft.com/en-us/azure/synapse-analytics/spark/apache-spark-overview" TargetMode="External"/><Relationship Id="rId5" Type="http://schemas.openxmlformats.org/officeDocument/2006/relationships/hyperlink" Target="https://azure.microsoft.com/services/storage/blobs" TargetMode="External"/><Relationship Id="rId4" Type="http://schemas.openxmlformats.org/officeDocument/2006/relationships/hyperlink" Target="https://docs.microsoft.com/en-us/azure/data-factory/concepts-pipelines-activitie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analysis-services/analysis-services-connect-pbi"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azure-monitor/logs/log-analytics-tutorial"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docs.microsoft.com/en-us/azure/azure-monitor/logs/log-query-overview"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a:t>
            </a:fld>
            <a:endParaRPr lang="en-IN"/>
          </a:p>
        </p:txBody>
      </p:sp>
    </p:spTree>
    <p:extLst>
      <p:ext uri="{BB962C8B-B14F-4D97-AF65-F5344CB8AC3E}">
        <p14:creationId xmlns:p14="http://schemas.microsoft.com/office/powerpoint/2010/main" val="4072115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1" i="0" dirty="0">
                <a:solidFill>
                  <a:srgbClr val="555555"/>
                </a:solidFill>
                <a:effectLst/>
                <a:latin typeface="-apple-system"/>
              </a:rPr>
              <a:t>Vertical scaling</a:t>
            </a:r>
            <a:r>
              <a:rPr lang="en-IN" b="0" i="0" dirty="0">
                <a:solidFill>
                  <a:srgbClr val="555555"/>
                </a:solidFill>
                <a:effectLst/>
                <a:latin typeface="-apple-system"/>
              </a:rPr>
              <a:t> means adding more power to your web app / VM. You’ll still have a single instance and you’re upping the specs of it. It’s great because, while you are solving for performance, you’re saving costs too as you’re only paying a minimal amount, only having to pay extra when your web app scales up. However, one obvious limit is “availability” – when the datacenter that hosts your web app goes down, your website goes down with it.</a:t>
            </a:r>
          </a:p>
          <a:p>
            <a:pPr algn="l">
              <a:buFont typeface="Arial" panose="020B0604020202020204" pitchFamily="34" charset="0"/>
              <a:buChar char="•"/>
            </a:pPr>
            <a:r>
              <a:rPr lang="en-IN" b="1" i="0" dirty="0">
                <a:solidFill>
                  <a:srgbClr val="555555"/>
                </a:solidFill>
                <a:effectLst/>
                <a:latin typeface="-apple-system"/>
              </a:rPr>
              <a:t>Horizontal scaling</a:t>
            </a:r>
            <a:r>
              <a:rPr lang="en-IN" b="0" i="0" dirty="0">
                <a:solidFill>
                  <a:srgbClr val="555555"/>
                </a:solidFill>
                <a:effectLst/>
                <a:latin typeface="-apple-system"/>
              </a:rPr>
              <a:t> on the other hand adds more machines to your pool of resources. Setting this up is a little bit more complicated as you’ll need a load balancer on top and most likely a service bus too to ensure all resources are in sync. However, not only will you be solving for performance but for availability as well. So if you’re website requires High Availability (HA), then you probably will want to consider a failover region, setting up a resource that’s hosted in a different regio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2</a:t>
            </a:fld>
            <a:endParaRPr lang="en-IN"/>
          </a:p>
        </p:txBody>
      </p:sp>
    </p:spTree>
    <p:extLst>
      <p:ext uri="{BB962C8B-B14F-4D97-AF65-F5344CB8AC3E}">
        <p14:creationId xmlns:p14="http://schemas.microsoft.com/office/powerpoint/2010/main" val="1968807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4</a:t>
            </a:fld>
            <a:endParaRPr lang="en-IN"/>
          </a:p>
        </p:txBody>
      </p:sp>
    </p:spTree>
    <p:extLst>
      <p:ext uri="{BB962C8B-B14F-4D97-AF65-F5344CB8AC3E}">
        <p14:creationId xmlns:p14="http://schemas.microsoft.com/office/powerpoint/2010/main" val="3921361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is reference architecture shows how to run an Azure App Service application in multiple regions to achieve high availability.</a:t>
            </a:r>
          </a:p>
          <a:p>
            <a:pPr algn="l">
              <a:buFont typeface="Arial" panose="020B0604020202020204" pitchFamily="34" charset="0"/>
              <a:buChar char="•"/>
            </a:pPr>
            <a:r>
              <a:rPr lang="en-IN" b="1" i="0" dirty="0">
                <a:solidFill>
                  <a:srgbClr val="171717"/>
                </a:solidFill>
                <a:effectLst/>
                <a:latin typeface="Segoe UI" panose="020B0502040204020203" pitchFamily="34" charset="0"/>
              </a:rPr>
              <a:t>Primary and secondary regions</a:t>
            </a:r>
            <a:r>
              <a:rPr lang="en-IN" b="0" i="0" dirty="0">
                <a:solidFill>
                  <a:srgbClr val="171717"/>
                </a:solidFill>
                <a:effectLst/>
                <a:latin typeface="Segoe UI" panose="020B0502040204020203" pitchFamily="34" charset="0"/>
              </a:rPr>
              <a:t>. This architecture uses two regions to achieve higher availability. The application is deployed to each region. During normal operations, network traffic is routed to the primary region. If the primary region becomes unavailable, traffic is routed to the secondary region.</a:t>
            </a:r>
          </a:p>
          <a:p>
            <a:pPr algn="l">
              <a:buFont typeface="Arial" panose="020B0604020202020204" pitchFamily="34" charset="0"/>
              <a:buChar char="•"/>
            </a:pPr>
            <a:r>
              <a:rPr lang="en-IN" b="1" i="0" dirty="0">
                <a:solidFill>
                  <a:srgbClr val="171717"/>
                </a:solidFill>
                <a:effectLst/>
                <a:latin typeface="Segoe UI" panose="020B0502040204020203" pitchFamily="34" charset="0"/>
              </a:rPr>
              <a:t>Front Door</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3"/>
              </a:rPr>
              <a:t>Front Door</a:t>
            </a:r>
            <a:r>
              <a:rPr lang="en-IN" b="0" i="0" dirty="0">
                <a:solidFill>
                  <a:srgbClr val="171717"/>
                </a:solidFill>
                <a:effectLst/>
                <a:latin typeface="Segoe UI" panose="020B0502040204020203" pitchFamily="34" charset="0"/>
              </a:rPr>
              <a:t> routes incoming requests to the primary region. If the application running that region becomes unavailable, Front Door fails over to the secondary region.</a:t>
            </a:r>
          </a:p>
          <a:p>
            <a:pPr algn="l">
              <a:buFont typeface="Arial" panose="020B0604020202020204" pitchFamily="34" charset="0"/>
              <a:buChar char="•"/>
            </a:pPr>
            <a:r>
              <a:rPr lang="en-IN" b="1" i="0" dirty="0">
                <a:solidFill>
                  <a:srgbClr val="171717"/>
                </a:solidFill>
                <a:effectLst/>
                <a:latin typeface="Segoe UI" panose="020B0502040204020203" pitchFamily="34" charset="0"/>
              </a:rPr>
              <a:t>Geo-replication</a:t>
            </a:r>
            <a:r>
              <a:rPr lang="en-IN" b="0" i="0" dirty="0">
                <a:solidFill>
                  <a:srgbClr val="171717"/>
                </a:solidFill>
                <a:effectLst/>
                <a:latin typeface="Segoe UI" panose="020B0502040204020203" pitchFamily="34" charset="0"/>
              </a:rPr>
              <a:t> of SQL Database and/or Cosmos DB.</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5</a:t>
            </a:fld>
            <a:endParaRPr lang="en-IN"/>
          </a:p>
        </p:txBody>
      </p:sp>
    </p:spTree>
    <p:extLst>
      <p:ext uri="{BB962C8B-B14F-4D97-AF65-F5344CB8AC3E}">
        <p14:creationId xmlns:p14="http://schemas.microsoft.com/office/powerpoint/2010/main" val="2345124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uses resources spread across multiple zones to provide a high availability (HA) architecture for hosting an Infrastructure as a Service (IaaS) web application and SQL Server database. A zone-redundant application gateway routes traffic to virtual machines within the web tier. A zone-redundant load balancer routes traffic from the virtual machines in the web tier to the active SQL Server. In the case of a zonal failure, the application gateway will route to virtual machines in the other available zones.</a:t>
            </a:r>
          </a:p>
          <a:p>
            <a:pPr algn="l"/>
            <a:r>
              <a:rPr lang="en-IN" b="0" i="0" dirty="0">
                <a:solidFill>
                  <a:srgbClr val="171717"/>
                </a:solidFill>
                <a:effectLst/>
                <a:latin typeface="Segoe UI" panose="020B0502040204020203" pitchFamily="34" charset="0"/>
              </a:rPr>
              <a:t>If the active SQL Server becomes unavailable, either due to a zone failure or local failure, a passive SQL Server will become the active SQL Server. The zone-redundant load balancer will detect the failover of SQL Server and route traffic to the newly active SQL Server.</a:t>
            </a:r>
          </a:p>
        </p:txBody>
      </p:sp>
      <p:sp>
        <p:nvSpPr>
          <p:cNvPr id="4" name="Slide Number Placeholder 3"/>
          <p:cNvSpPr>
            <a:spLocks noGrp="1"/>
          </p:cNvSpPr>
          <p:nvPr>
            <p:ph type="sldNum" sz="quarter" idx="5"/>
          </p:nvPr>
        </p:nvSpPr>
        <p:spPr/>
        <p:txBody>
          <a:bodyPr/>
          <a:lstStyle/>
          <a:p>
            <a:fld id="{ED996846-AE39-468A-975A-8BF696CEE41E}" type="slidenum">
              <a:rPr lang="en-IN" smtClean="0"/>
              <a:t>16</a:t>
            </a:fld>
            <a:endParaRPr lang="en-IN"/>
          </a:p>
        </p:txBody>
      </p:sp>
    </p:spTree>
    <p:extLst>
      <p:ext uri="{BB962C8B-B14F-4D97-AF65-F5344CB8AC3E}">
        <p14:creationId xmlns:p14="http://schemas.microsoft.com/office/powerpoint/2010/main" val="1024696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is reference architecture shows a set of proven practices for running an N-tier application in multiple Azure regions, in order to achieve availability and a robust disaster recovery infrastructure.</a:t>
            </a:r>
          </a:p>
          <a:p>
            <a:endParaRPr lang="en-IN" b="0" i="0" dirty="0">
              <a:solidFill>
                <a:srgbClr val="171717"/>
              </a:solidFill>
              <a:effectLst/>
              <a:latin typeface="Segoe UI" panose="020B0502040204020203" pitchFamily="34" charset="0"/>
            </a:endParaRPr>
          </a:p>
          <a:p>
            <a:pPr algn="l">
              <a:buFont typeface="Arial" panose="020B0604020202020204" pitchFamily="34" charset="0"/>
              <a:buChar char="•"/>
            </a:pPr>
            <a:r>
              <a:rPr lang="en-IN" b="1" i="0" dirty="0">
                <a:solidFill>
                  <a:srgbClr val="171717"/>
                </a:solidFill>
                <a:effectLst/>
                <a:latin typeface="Segoe UI" panose="020B0502040204020203" pitchFamily="34" charset="0"/>
              </a:rPr>
              <a:t>Primary and secondary regions</a:t>
            </a:r>
            <a:r>
              <a:rPr lang="en-IN" b="0" i="0" dirty="0">
                <a:solidFill>
                  <a:srgbClr val="171717"/>
                </a:solidFill>
                <a:effectLst/>
                <a:latin typeface="Segoe UI" panose="020B0502040204020203" pitchFamily="34" charset="0"/>
              </a:rPr>
              <a:t>. Use two regions to achieve higher availability. One is the primary region. The other region is for failover.</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Traffic Manager</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3"/>
              </a:rPr>
              <a:t>Traffic Manager</a:t>
            </a:r>
            <a:r>
              <a:rPr lang="en-IN" b="0" i="0" dirty="0">
                <a:solidFill>
                  <a:srgbClr val="171717"/>
                </a:solidFill>
                <a:effectLst/>
                <a:latin typeface="Segoe UI" panose="020B0502040204020203" pitchFamily="34" charset="0"/>
              </a:rPr>
              <a:t> routes incoming requests to one of the regions. During normal operations, it routes requests to the primary region. If that region becomes unavailable, Traffic Manager fails over to the secondary region. For more information, see the section </a:t>
            </a:r>
            <a:r>
              <a:rPr lang="en-IN" b="0" i="0" u="none" strike="noStrike" dirty="0">
                <a:solidFill>
                  <a:srgbClr val="171717"/>
                </a:solidFill>
                <a:effectLst/>
                <a:latin typeface="Segoe UI" panose="020B0502040204020203" pitchFamily="34" charset="0"/>
                <a:hlinkClick r:id="rId4"/>
              </a:rPr>
              <a:t>Traffic Manager configuration</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Resource groups</a:t>
            </a:r>
            <a:r>
              <a:rPr lang="en-IN" b="0" i="0" dirty="0">
                <a:solidFill>
                  <a:srgbClr val="171717"/>
                </a:solidFill>
                <a:effectLst/>
                <a:latin typeface="Segoe UI" panose="020B0502040204020203" pitchFamily="34" charset="0"/>
              </a:rPr>
              <a:t>. Create separate </a:t>
            </a:r>
            <a:r>
              <a:rPr lang="en-IN" b="0" i="0" u="none" strike="noStrike" dirty="0">
                <a:solidFill>
                  <a:srgbClr val="171717"/>
                </a:solidFill>
                <a:effectLst/>
                <a:latin typeface="Segoe UI" panose="020B0502040204020203" pitchFamily="34" charset="0"/>
                <a:hlinkClick r:id="rId5"/>
              </a:rPr>
              <a:t>resource groups</a:t>
            </a:r>
            <a:r>
              <a:rPr lang="en-IN" b="0" i="0" dirty="0">
                <a:solidFill>
                  <a:srgbClr val="171717"/>
                </a:solidFill>
                <a:effectLst/>
                <a:latin typeface="Segoe UI" panose="020B0502040204020203" pitchFamily="34" charset="0"/>
              </a:rPr>
              <a:t> for the primary region, the secondary region, and for Traffic Manager. This gives you the flexibility to manage each region as a single collection of resources. For example, you could redeploy one region, without taking down the other one. </a:t>
            </a:r>
            <a:r>
              <a:rPr lang="en-IN" b="0" i="0" u="none" strike="noStrike" dirty="0">
                <a:solidFill>
                  <a:srgbClr val="171717"/>
                </a:solidFill>
                <a:effectLst/>
                <a:latin typeface="Segoe UI" panose="020B0502040204020203" pitchFamily="34" charset="0"/>
                <a:hlinkClick r:id="rId6"/>
              </a:rPr>
              <a:t>Link the resource groups</a:t>
            </a:r>
            <a:r>
              <a:rPr lang="en-IN" b="0" i="0" dirty="0">
                <a:solidFill>
                  <a:srgbClr val="171717"/>
                </a:solidFill>
                <a:effectLst/>
                <a:latin typeface="Segoe UI" panose="020B0502040204020203" pitchFamily="34" charset="0"/>
              </a:rPr>
              <a:t>, so that you can run a query to list all the resources for the applic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Virtual networks</a:t>
            </a:r>
            <a:r>
              <a:rPr lang="en-IN" b="0" i="0" dirty="0">
                <a:solidFill>
                  <a:srgbClr val="171717"/>
                </a:solidFill>
                <a:effectLst/>
                <a:latin typeface="Segoe UI" panose="020B0502040204020203" pitchFamily="34" charset="0"/>
              </a:rPr>
              <a:t>. Create a separate virtual network for each region. Make sure the address spaces do not overlap.</a:t>
            </a:r>
          </a:p>
          <a:p>
            <a:pPr algn="l">
              <a:buFont typeface="Arial" panose="020B0604020202020204" pitchFamily="34" charset="0"/>
              <a:buChar char="•"/>
            </a:pPr>
            <a:r>
              <a:rPr lang="en-IN" b="1" i="0" dirty="0">
                <a:solidFill>
                  <a:srgbClr val="171717"/>
                </a:solidFill>
                <a:effectLst/>
                <a:latin typeface="Segoe UI" panose="020B0502040204020203" pitchFamily="34" charset="0"/>
              </a:rPr>
              <a:t>SQL Server Always On Availability Group</a:t>
            </a:r>
            <a:r>
              <a:rPr lang="en-IN" b="0" i="0" dirty="0">
                <a:solidFill>
                  <a:srgbClr val="171717"/>
                </a:solidFill>
                <a:effectLst/>
                <a:latin typeface="Segoe UI" panose="020B0502040204020203" pitchFamily="34" charset="0"/>
              </a:rPr>
              <a:t>. If you are using SQL Server, we recommend </a:t>
            </a:r>
            <a:r>
              <a:rPr lang="en-IN" b="0" i="0" u="none" strike="noStrike" dirty="0">
                <a:solidFill>
                  <a:srgbClr val="171717"/>
                </a:solidFill>
                <a:effectLst/>
                <a:latin typeface="Segoe UI" panose="020B0502040204020203" pitchFamily="34" charset="0"/>
                <a:hlinkClick r:id="rId7"/>
              </a:rPr>
              <a:t>SQL Always On Availability Groups</a:t>
            </a:r>
            <a:r>
              <a:rPr lang="en-IN" b="0" i="0" dirty="0">
                <a:solidFill>
                  <a:srgbClr val="171717"/>
                </a:solidFill>
                <a:effectLst/>
                <a:latin typeface="Segoe UI" panose="020B0502040204020203" pitchFamily="34" charset="0"/>
              </a:rPr>
              <a:t> for high availability. Create a single availability group that includes the SQL Server instances in both regions.</a:t>
            </a:r>
          </a:p>
          <a:p>
            <a:endParaRPr lang="en-IN" b="0" i="0" dirty="0">
              <a:solidFill>
                <a:srgbClr val="171717"/>
              </a:solidFill>
              <a:effectLst/>
              <a:latin typeface="Segoe UI" panose="020B0502040204020203" pitchFamily="34" charset="0"/>
            </a:endParaRP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7</a:t>
            </a:fld>
            <a:endParaRPr lang="en-IN"/>
          </a:p>
        </p:txBody>
      </p:sp>
    </p:spTree>
    <p:extLst>
      <p:ext uri="{BB962C8B-B14F-4D97-AF65-F5344CB8AC3E}">
        <p14:creationId xmlns:p14="http://schemas.microsoft.com/office/powerpoint/2010/main" val="8166709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is reference architecture is applicable to any industry that intends to serve web workloads and needs to deploy resilient multitier applications in multiple Azure regions, in order to achieve availability and a robust disaster recovery infrastructure. In this reference architecture, Azure Traffic Manager performs the global load balancing of web traffic across Azure regions, which have a regional load balancer based on Azure Application Gateway. This combination gets you the benefits of Traffic Manager many routing rules and Application Gateway’s capabilities such as WAF, TLS termination, path-based routing, cookie-based session affinity among others. In this scenario, the application consists of three layers.</a:t>
            </a:r>
          </a:p>
          <a:p>
            <a:endParaRPr lang="en-IN" b="0" i="0" dirty="0">
              <a:solidFill>
                <a:srgbClr val="171717"/>
              </a:solidFill>
              <a:effectLst/>
              <a:latin typeface="Segoe UI" panose="020B0502040204020203" pitchFamily="34" charset="0"/>
            </a:endParaRPr>
          </a:p>
          <a:p>
            <a:endParaRPr lang="en-IN"/>
          </a:p>
        </p:txBody>
      </p:sp>
      <p:sp>
        <p:nvSpPr>
          <p:cNvPr id="4" name="Slide Number Placeholder 3"/>
          <p:cNvSpPr>
            <a:spLocks noGrp="1"/>
          </p:cNvSpPr>
          <p:nvPr>
            <p:ph type="sldNum" sz="quarter" idx="5"/>
          </p:nvPr>
        </p:nvSpPr>
        <p:spPr/>
        <p:txBody>
          <a:bodyPr/>
          <a:lstStyle/>
          <a:p>
            <a:fld id="{ED996846-AE39-468A-975A-8BF696CEE41E}" type="slidenum">
              <a:rPr lang="en-IN" smtClean="0"/>
              <a:t>18</a:t>
            </a:fld>
            <a:endParaRPr lang="en-IN"/>
          </a:p>
        </p:txBody>
      </p:sp>
    </p:spTree>
    <p:extLst>
      <p:ext uri="{BB962C8B-B14F-4D97-AF65-F5344CB8AC3E}">
        <p14:creationId xmlns:p14="http://schemas.microsoft.com/office/powerpoint/2010/main" val="13684207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sz="1800" b="0" i="0" u="none" strike="noStrike" baseline="0" dirty="0">
                <a:latin typeface="SegoeUI"/>
              </a:rPr>
              <a:t>In traditional application development, there has been a focus on reducing mean time between failures (MTBF). Effort was spent trying to prevent the system from failing. In cloud computing, a different mindset is required, due to several factors: Distributed systems are complex, and a failure at one point can potentially cascade throughout the system. Costs for cloud environments are kept low through the use of commodity hardware, so occasional hardware failures must be expected. Applications often depend on external services, which may become temporarily unavailable or throttle high-volume users. Today’s users expect an application to be available 24/7 without ever going offline.</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0</a:t>
            </a:fld>
            <a:endParaRPr lang="en-IN"/>
          </a:p>
        </p:txBody>
      </p:sp>
    </p:spTree>
    <p:extLst>
      <p:ext uri="{BB962C8B-B14F-4D97-AF65-F5344CB8AC3E}">
        <p14:creationId xmlns:p14="http://schemas.microsoft.com/office/powerpoint/2010/main" val="1564145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solidFill>
                  <a:srgbClr val="000000"/>
                </a:solidFill>
                <a:latin typeface="Segoe Pro"/>
              </a:rPr>
              <a:t>Despite all the investments Microsoft puts into making the platform reliable, apps can suffer from downtime because of unplanned events such as power failures, data corruption, ransomware attacks, as well as fires or natural disasters. The graphic below illustrates key Azure service offerings for various types of failures that can occur </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1</a:t>
            </a:fld>
            <a:endParaRPr lang="en-IN"/>
          </a:p>
        </p:txBody>
      </p:sp>
    </p:spTree>
    <p:extLst>
      <p:ext uri="{BB962C8B-B14F-4D97-AF65-F5344CB8AC3E}">
        <p14:creationId xmlns:p14="http://schemas.microsoft.com/office/powerpoint/2010/main" val="3730250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solidFill>
                  <a:srgbClr val="000000"/>
                </a:solidFill>
                <a:latin typeface="Segoe Pro"/>
              </a:rPr>
              <a:t>Despite all the investments Microsoft puts into making the platform reliable, apps can suffer from downtime because of unplanned events such as power failures, data corruption, ransomware attacks, as well as fires or natural disasters. The graphic below illustrates key Azure service offerings for various types of failures that can occur </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2</a:t>
            </a:fld>
            <a:endParaRPr lang="en-IN"/>
          </a:p>
        </p:txBody>
      </p:sp>
    </p:spTree>
    <p:extLst>
      <p:ext uri="{BB962C8B-B14F-4D97-AF65-F5344CB8AC3E}">
        <p14:creationId xmlns:p14="http://schemas.microsoft.com/office/powerpoint/2010/main" val="23531499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Hardware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Build redundancy by deploying two or more instances in an Availability Set within a datacenter.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Datacenter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Operate ready-to-use templates to deploy another instance using backup copies (if required) in another availability zone. Test templates by deploying VMs into a test subnet or a test virtual network in another zon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Regional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Azure Site Recovery to replicate the database VM. Test the disaster recovery using test failover and Azure Site Recovery plans. Perform a disaster recovery failover in the event of an extended outage in the source reg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Heavy load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monitoring tools to identify load surges on the VM. Increase the size of the VM or scale up by adding more instan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Accidental data deletion or corruption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Azure Backup to back up VMs. Test data recovery by restoring files, disks, VMs, or SQL databases. Restore data if an accidental deletion occu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Application deployment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automation scripts to deploy updates. If an issue is observed during the update process or after the update, roll back to the previous version with an automated scrip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3</a:t>
            </a:fld>
            <a:endParaRPr lang="en-IN"/>
          </a:p>
        </p:txBody>
      </p:sp>
    </p:spTree>
    <p:extLst>
      <p:ext uri="{BB962C8B-B14F-4D97-AF65-F5344CB8AC3E}">
        <p14:creationId xmlns:p14="http://schemas.microsoft.com/office/powerpoint/2010/main" val="4110106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a:t>
            </a:fld>
            <a:endParaRPr lang="en-IN"/>
          </a:p>
        </p:txBody>
      </p:sp>
    </p:spTree>
    <p:extLst>
      <p:ext uri="{BB962C8B-B14F-4D97-AF65-F5344CB8AC3E}">
        <p14:creationId xmlns:p14="http://schemas.microsoft.com/office/powerpoint/2010/main" val="3990722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Hardware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Build redundancy by deploying two or more VM instances across availability zones within a reg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Datacenter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Build redundancy by deploying two or more VM instances across availability zones within a reg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Regional failure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Azure Site Recovery to replicate all VMs in the web tier and middle tier. Use </a:t>
            </a:r>
            <a:r>
              <a:rPr lang="en-IN" sz="1800" b="0" i="0" u="sng" strike="noStrike" baseline="0" dirty="0">
                <a:solidFill>
                  <a:srgbClr val="000000"/>
                </a:solidFill>
                <a:latin typeface="Segoe Pro"/>
              </a:rPr>
              <a:t>global data distribution </a:t>
            </a:r>
            <a:r>
              <a:rPr lang="en-IN" sz="1800" b="0" i="0" u="none" strike="noStrike" baseline="0" dirty="0">
                <a:solidFill>
                  <a:srgbClr val="000000"/>
                </a:solidFill>
                <a:latin typeface="Segoe Pro"/>
              </a:rPr>
              <a:t>with Cosmos DB. Test the disaster recovery of the complete application (including Cosmos DB failover). Perform disaster recovery failover in the event of an extended outage in a source reg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Heavy load </a:t>
            </a: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Provision enough capacity into the application. Use tools to monitor the load and add more instances that automatically use scripts if the threshold (for example, 70 percent) is reach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Accidental data deletion or corrup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Use Azure Backup to back up all VMs and SQL databases. Test data recovery by restoring files, disks, VMs or SQL databases. Restore the data if an accidental deletion occu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0" i="0" u="none" strike="noStrike" baseline="0" dirty="0">
              <a:solidFill>
                <a:srgbClr val="000000"/>
              </a:solidFill>
              <a:latin typeface="Segoe 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solidFill>
                  <a:srgbClr val="000000"/>
                </a:solidFill>
                <a:latin typeface="Segoe Pro"/>
              </a:rPr>
              <a:t>Application deployment failur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Use safe deployment practices to roll out the updates to a minimal set of customers before deploying it widely. Use automation scripts to deploy updates with the automatic roll back capability built in if there’s an issue with the update deployment. Have alerts configured to send alarms if an issue occurs after an update deployment. If any occur, have the automated roll back script ready to execute.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u="none" strike="noStrike" baseline="0" dirty="0">
                <a:solidFill>
                  <a:srgbClr val="000000"/>
                </a:solidFill>
                <a:latin typeface="Segoe Pro"/>
              </a:rPr>
              <a:t>	</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4</a:t>
            </a:fld>
            <a:endParaRPr lang="en-IN"/>
          </a:p>
        </p:txBody>
      </p:sp>
    </p:spTree>
    <p:extLst>
      <p:ext uri="{BB962C8B-B14F-4D97-AF65-F5344CB8AC3E}">
        <p14:creationId xmlns:p14="http://schemas.microsoft.com/office/powerpoint/2010/main" val="3189701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0" i="0" dirty="0">
                <a:solidFill>
                  <a:srgbClr val="171717"/>
                </a:solidFill>
                <a:effectLst/>
                <a:latin typeface="Segoe UI" panose="020B0502040204020203" pitchFamily="34" charset="0"/>
              </a:rPr>
              <a:t>These workloads include online transaction processing (OLTP) and online analytical processing (OLAP). Data in OLTP systems is typically relational data with a predefined schema and a set of constraints to maintain referential integrity. Often, data from multiple sources in the organization may be consolidated into a data warehouse, using an ETL process to move and transform the source data.</a:t>
            </a:r>
            <a:endParaRPr lang="en-IN" dirty="0"/>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6</a:t>
            </a:fld>
            <a:endParaRPr lang="en-IN"/>
          </a:p>
        </p:txBody>
      </p:sp>
    </p:spTree>
    <p:extLst>
      <p:ext uri="{BB962C8B-B14F-4D97-AF65-F5344CB8AC3E}">
        <p14:creationId xmlns:p14="http://schemas.microsoft.com/office/powerpoint/2010/main" val="3966368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i="0" dirty="0">
                <a:solidFill>
                  <a:srgbClr val="171717"/>
                </a:solidFill>
                <a:effectLst/>
                <a:latin typeface="Segoe UI" panose="020B0502040204020203" pitchFamily="34" charset="0"/>
              </a:rPr>
              <a:t>Big data solutions</a:t>
            </a:r>
            <a:r>
              <a:rPr lang="en-IN" b="0" i="0" dirty="0">
                <a:solidFill>
                  <a:srgbClr val="171717"/>
                </a:solidFill>
                <a:effectLst/>
                <a:latin typeface="Segoe UI" panose="020B0502040204020203" pitchFamily="34" charset="0"/>
              </a:rPr>
              <a:t>. A big data architecture is designed to handle the ingestion, processing, and analysis of data that is too large or complex for traditional database systems. The data may be processed in batch or in real time. Big data solutions typically involve a large amount of non-relational data, such as key-value data, JSON documents, or time series data. Often traditional RDBMS systems are not well-suited to store this type of data. The term </a:t>
            </a:r>
            <a:r>
              <a:rPr lang="en-IN" b="0" i="1" dirty="0">
                <a:solidFill>
                  <a:srgbClr val="171717"/>
                </a:solidFill>
                <a:effectLst/>
                <a:latin typeface="Segoe UI" panose="020B0502040204020203" pitchFamily="34" charset="0"/>
              </a:rPr>
              <a:t>NoSQL</a:t>
            </a:r>
            <a:r>
              <a:rPr lang="en-IN" b="0" i="0" dirty="0">
                <a:solidFill>
                  <a:srgbClr val="171717"/>
                </a:solidFill>
                <a:effectLst/>
                <a:latin typeface="Segoe UI" panose="020B0502040204020203" pitchFamily="34" charset="0"/>
              </a:rPr>
              <a:t> refers to a family of databases designed to hold non-relational data. The term isn't quite accurate, because many non-relational data stores support SQL compatible queries. The term </a:t>
            </a:r>
            <a:r>
              <a:rPr lang="en-IN" b="0" i="1" dirty="0">
                <a:solidFill>
                  <a:srgbClr val="171717"/>
                </a:solidFill>
                <a:effectLst/>
                <a:latin typeface="Segoe UI" panose="020B0502040204020203" pitchFamily="34" charset="0"/>
              </a:rPr>
              <a:t>NoSQL</a:t>
            </a:r>
            <a:r>
              <a:rPr lang="en-IN" b="0" i="0" dirty="0">
                <a:solidFill>
                  <a:srgbClr val="171717"/>
                </a:solidFill>
                <a:effectLst/>
                <a:latin typeface="Segoe UI" panose="020B0502040204020203" pitchFamily="34" charset="0"/>
              </a:rPr>
              <a:t> stands for "Not only SQL".</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7</a:t>
            </a:fld>
            <a:endParaRPr lang="en-IN"/>
          </a:p>
        </p:txBody>
      </p:sp>
    </p:spTree>
    <p:extLst>
      <p:ext uri="{BB962C8B-B14F-4D97-AF65-F5344CB8AC3E}">
        <p14:creationId xmlns:p14="http://schemas.microsoft.com/office/powerpoint/2010/main" val="27645677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r>
              <a:rPr lang="en-US" dirty="0">
                <a:latin typeface="+mn-lt"/>
                <a:cs typeface="Segoe UI Light" panose="020B0502040204020203" pitchFamily="34" charset="0"/>
              </a:rPr>
              <a:t>Structured and unstructured data</a:t>
            </a:r>
          </a:p>
          <a:p>
            <a:pPr>
              <a:spcAft>
                <a:spcPts val="1800"/>
              </a:spcAft>
            </a:pPr>
            <a:r>
              <a:rPr lang="en-US" dirty="0">
                <a:latin typeface="+mn-lt"/>
                <a:cs typeface="Segoe UI Light" panose="020B0502040204020203" pitchFamily="34" charset="0"/>
              </a:rPr>
              <a:t>Hyperscale repository for big data analytic workloads</a:t>
            </a:r>
          </a:p>
          <a:p>
            <a:pPr>
              <a:spcAft>
                <a:spcPts val="1800"/>
              </a:spcAft>
            </a:pPr>
            <a:r>
              <a:rPr lang="en-US" dirty="0">
                <a:latin typeface="+mn-lt"/>
                <a:cs typeface="Segoe UI Light" panose="020B0502040204020203" pitchFamily="34" charset="0"/>
              </a:rPr>
              <a:t>No limits on account sizes, file sizes, or the amount of data</a:t>
            </a:r>
          </a:p>
          <a:p>
            <a:pPr>
              <a:spcAft>
                <a:spcPts val="1800"/>
              </a:spcAft>
            </a:pPr>
            <a:r>
              <a:rPr lang="en-US" dirty="0">
                <a:latin typeface="+mn-lt"/>
                <a:cs typeface="Segoe UI Light" panose="020B0502040204020203" pitchFamily="34" charset="0"/>
              </a:rPr>
              <a:t>Hadoop accessed (available through HDInsight) using </a:t>
            </a:r>
            <a:r>
              <a:rPr lang="en-US" dirty="0" err="1">
                <a:latin typeface="+mn-lt"/>
                <a:cs typeface="Segoe UI Light" panose="020B0502040204020203" pitchFamily="34" charset="0"/>
              </a:rPr>
              <a:t>WebHDFS</a:t>
            </a:r>
            <a:r>
              <a:rPr lang="en-US" dirty="0">
                <a:latin typeface="+mn-lt"/>
                <a:cs typeface="Segoe UI Light" panose="020B0502040204020203" pitchFamily="34" charset="0"/>
              </a:rPr>
              <a:t>-compatible REST APIs</a:t>
            </a:r>
          </a:p>
          <a:p>
            <a:pPr>
              <a:lnSpc>
                <a:spcPct val="100000"/>
              </a:lnSpc>
              <a:spcAft>
                <a:spcPts val="600"/>
              </a:spcAft>
            </a:pPr>
            <a:endParaRPr lang="en-US" sz="1200" dirty="0">
              <a:latin typeface="Segoe UI Light" panose="020B0502040204020203" pitchFamily="34" charset="0"/>
              <a:cs typeface="Segoe UI Light" panose="020B0502040204020203" pitchFamily="34" charset="0"/>
            </a:endParaRPr>
          </a:p>
          <a:p>
            <a:pPr>
              <a:lnSpc>
                <a:spcPct val="100000"/>
              </a:lnSpc>
              <a:spcAft>
                <a:spcPts val="600"/>
              </a:spcAft>
            </a:pPr>
            <a:endParaRPr lang="en-US" sz="1200" dirty="0">
              <a:latin typeface="Segoe UI Light" panose="020B0502040204020203" pitchFamily="34" charset="0"/>
              <a:cs typeface="Segoe UI Light" panose="020B0502040204020203" pitchFamily="34" charset="0"/>
            </a:endParaRPr>
          </a:p>
          <a:p>
            <a:pPr>
              <a:lnSpc>
                <a:spcPct val="100000"/>
              </a:lnSpc>
              <a:spcAft>
                <a:spcPts val="600"/>
              </a:spcAft>
            </a:pPr>
            <a:r>
              <a:rPr lang="en-US" sz="1200" dirty="0">
                <a:latin typeface="Segoe UI Light" panose="020B0502040204020203" pitchFamily="34" charset="0"/>
                <a:cs typeface="Segoe UI Light" panose="020B0502040204020203" pitchFamily="34" charset="0"/>
              </a:rPr>
              <a:t>Data Lake is a large repository that stores both structured and unstructured data.</a:t>
            </a:r>
          </a:p>
          <a:p>
            <a:pPr>
              <a:lnSpc>
                <a:spcPct val="100000"/>
              </a:lnSpc>
              <a:spcAft>
                <a:spcPts val="600"/>
              </a:spcAft>
            </a:pPr>
            <a:r>
              <a:rPr lang="en-US" sz="1200" dirty="0">
                <a:latin typeface="Segoe UI Light" panose="020B0502040204020203" pitchFamily="34" charset="0"/>
                <a:cs typeface="Segoe UI Light" panose="020B0502040204020203" pitchFamily="34" charset="0"/>
              </a:rPr>
              <a:t>An enterprise-wide hyperscale repository for big data analytic workloads.</a:t>
            </a:r>
          </a:p>
          <a:p>
            <a:pPr>
              <a:lnSpc>
                <a:spcPct val="100000"/>
              </a:lnSpc>
              <a:spcAft>
                <a:spcPts val="600"/>
              </a:spcAft>
            </a:pPr>
            <a:r>
              <a:rPr lang="en-US" sz="1200" dirty="0">
                <a:latin typeface="Segoe UI Light" panose="020B0502040204020203" pitchFamily="34" charset="0"/>
                <a:cs typeface="Segoe UI Light" panose="020B0502040204020203" pitchFamily="34" charset="0"/>
              </a:rPr>
              <a:t>Does not impose limits on account sizes, file sizes, or the amount of data that can be stored.</a:t>
            </a:r>
          </a:p>
          <a:p>
            <a:pPr>
              <a:lnSpc>
                <a:spcPct val="100000"/>
              </a:lnSpc>
              <a:spcAft>
                <a:spcPts val="600"/>
              </a:spcAft>
            </a:pPr>
            <a:r>
              <a:rPr lang="en-US" sz="1200" dirty="0">
                <a:latin typeface="Segoe UI Light" panose="020B0502040204020203" pitchFamily="34" charset="0"/>
                <a:cs typeface="Segoe UI Light" panose="020B0502040204020203" pitchFamily="34" charset="0"/>
              </a:rPr>
              <a:t>Can be accessed from Hadoop (available through HDInsight) using the </a:t>
            </a:r>
            <a:r>
              <a:rPr lang="en-US" sz="1200" dirty="0" err="1">
                <a:latin typeface="Segoe UI Light" panose="020B0502040204020203" pitchFamily="34" charset="0"/>
                <a:cs typeface="Segoe UI Light" panose="020B0502040204020203" pitchFamily="34" charset="0"/>
              </a:rPr>
              <a:t>WebHDFS</a:t>
            </a:r>
            <a:r>
              <a:rPr lang="en-US" sz="1200" dirty="0">
                <a:latin typeface="Segoe UI Light" panose="020B0502040204020203" pitchFamily="34" charset="0"/>
                <a:cs typeface="Segoe UI Light" panose="020B0502040204020203" pitchFamily="34" charset="0"/>
              </a:rPr>
              <a:t>-compatible REST API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8</a:t>
            </a:fld>
            <a:endParaRPr lang="en-IN"/>
          </a:p>
        </p:txBody>
      </p:sp>
    </p:spTree>
    <p:extLst>
      <p:ext uri="{BB962C8B-B14F-4D97-AF65-F5344CB8AC3E}">
        <p14:creationId xmlns:p14="http://schemas.microsoft.com/office/powerpoint/2010/main" val="1725654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An enterprise data warehouse lets you bring together all your data at any scale easily, and to get insights through analytical dashboards, operational reports, or advanced analytics for all your users.</a:t>
            </a:r>
          </a:p>
          <a:p>
            <a:endParaRPr lang="en-IN" b="0" i="0" dirty="0">
              <a:solidFill>
                <a:srgbClr val="171717"/>
              </a:solidFill>
              <a:effectLst/>
              <a:latin typeface="Segoe UI" panose="020B0502040204020203" pitchFamily="34" charset="0"/>
            </a:endParaRPr>
          </a:p>
          <a:p>
            <a:pPr algn="l">
              <a:buFont typeface="+mj-lt"/>
              <a:buAutoNum type="arabicPeriod"/>
            </a:pPr>
            <a:r>
              <a:rPr lang="en-IN" b="0" i="0" dirty="0">
                <a:solidFill>
                  <a:srgbClr val="171717"/>
                </a:solidFill>
                <a:effectLst/>
                <a:latin typeface="Segoe UI" panose="020B0502040204020203" pitchFamily="34" charset="0"/>
              </a:rPr>
              <a:t>Combine all your structured, unstructured and semi-structured data (logs, files, and media) using Azure Synapse Analytics Pipelines to Azure Blob Storage.</a:t>
            </a:r>
          </a:p>
          <a:p>
            <a:pPr algn="l">
              <a:buFont typeface="+mj-lt"/>
              <a:buAutoNum type="arabicPeriod"/>
            </a:pPr>
            <a:r>
              <a:rPr lang="en-IN" b="0" i="0" dirty="0">
                <a:solidFill>
                  <a:srgbClr val="171717"/>
                </a:solidFill>
                <a:effectLst/>
                <a:latin typeface="Segoe UI" panose="020B0502040204020203" pitchFamily="34" charset="0"/>
              </a:rPr>
              <a:t>Leverage data in Azure Blob Storage to perform scalable analytics with Azure Synapse Analytics Spark pool and achieve cleansed and transformed data.</a:t>
            </a:r>
          </a:p>
          <a:p>
            <a:pPr algn="l">
              <a:buFont typeface="+mj-lt"/>
              <a:buAutoNum type="arabicPeriod"/>
            </a:pPr>
            <a:r>
              <a:rPr lang="en-IN" b="0" i="0" dirty="0">
                <a:solidFill>
                  <a:srgbClr val="171717"/>
                </a:solidFill>
                <a:effectLst/>
                <a:latin typeface="Segoe UI" panose="020B0502040204020203" pitchFamily="34" charset="0"/>
              </a:rPr>
              <a:t>Cleansed and transformed data can be combined with existing structured data, creating one hub for all your data with Azure Synapse Analytics.</a:t>
            </a:r>
          </a:p>
          <a:p>
            <a:pPr algn="l">
              <a:buFont typeface="+mj-lt"/>
              <a:buAutoNum type="arabicPeriod"/>
            </a:pPr>
            <a:r>
              <a:rPr lang="en-IN" b="0" i="0" dirty="0">
                <a:solidFill>
                  <a:srgbClr val="171717"/>
                </a:solidFill>
                <a:effectLst/>
                <a:latin typeface="Segoe UI" panose="020B0502040204020203" pitchFamily="34" charset="0"/>
              </a:rPr>
              <a:t>Build operational reports and analytical dashboards on top of dedicated SQL pool to derive insights from the data, and use Azure Analysis Services to serve thousands of end users.</a:t>
            </a:r>
          </a:p>
          <a:p>
            <a:endParaRPr lang="en-IN" b="0" i="0" dirty="0">
              <a:solidFill>
                <a:srgbClr val="171717"/>
              </a:solidFill>
              <a:effectLst/>
              <a:latin typeface="Segoe UI" panose="020B0502040204020203" pitchFamily="34" charset="0"/>
            </a:endParaRPr>
          </a:p>
          <a:p>
            <a:endParaRPr lang="en-IN" dirty="0"/>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3"/>
              </a:rPr>
              <a:t>Azure Synapse Analytics</a:t>
            </a:r>
            <a:r>
              <a:rPr lang="en-IN" b="0" i="0" dirty="0">
                <a:solidFill>
                  <a:srgbClr val="171717"/>
                </a:solidFill>
                <a:effectLst/>
                <a:latin typeface="Segoe UI" panose="020B0502040204020203" pitchFamily="34" charset="0"/>
              </a:rPr>
              <a:t> is the fast, flexible, and trusted cloud data warehouse that lets you scale, compute, and store elastically and independently, with a massively parallel processing architectur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4"/>
              </a:rPr>
              <a:t>Synapse Pipelines Documentation</a:t>
            </a:r>
            <a:r>
              <a:rPr lang="en-IN" b="0" i="0" dirty="0">
                <a:solidFill>
                  <a:srgbClr val="171717"/>
                </a:solidFill>
                <a:effectLst/>
                <a:latin typeface="Segoe UI" panose="020B0502040204020203" pitchFamily="34" charset="0"/>
              </a:rPr>
              <a:t> allows you to create, schedule and orchestrate your ETL/ELT workflow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5"/>
              </a:rPr>
              <a:t>Azure Blob storage</a:t>
            </a:r>
            <a:r>
              <a:rPr lang="en-IN" b="0" i="0" dirty="0">
                <a:solidFill>
                  <a:srgbClr val="171717"/>
                </a:solidFill>
                <a:effectLst/>
                <a:latin typeface="Segoe UI" panose="020B0502040204020203" pitchFamily="34" charset="0"/>
              </a:rPr>
              <a:t> is a Massively scalable object storage for any type of unstructured data-images, videos, audio, documents, and more-easily and cost-effectively.</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6"/>
              </a:rPr>
              <a:t>Azure Synapse Analytics Spark pools</a:t>
            </a:r>
            <a:r>
              <a:rPr lang="en-IN" b="0" i="0" dirty="0">
                <a:solidFill>
                  <a:srgbClr val="171717"/>
                </a:solidFill>
                <a:effectLst/>
                <a:latin typeface="Segoe UI" panose="020B0502040204020203" pitchFamily="34" charset="0"/>
              </a:rPr>
              <a:t> is a parallel processing framework that supports in-memory processing to boost the performance of big-data analytic application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7"/>
              </a:rPr>
              <a:t>Azure Analysis Services</a:t>
            </a:r>
            <a:r>
              <a:rPr lang="en-IN" b="0" i="0" dirty="0">
                <a:solidFill>
                  <a:srgbClr val="171717"/>
                </a:solidFill>
                <a:effectLst/>
                <a:latin typeface="Segoe UI" panose="020B0502040204020203" pitchFamily="34" charset="0"/>
              </a:rPr>
              <a:t> is an enterprise grade analytics as a service that lets you govern, deploy, test, and deliver your BI solution with confidenc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8"/>
              </a:rPr>
              <a:t>Power BI</a:t>
            </a:r>
            <a:r>
              <a:rPr lang="en-IN" b="0" i="0" dirty="0">
                <a:solidFill>
                  <a:srgbClr val="171717"/>
                </a:solidFill>
                <a:effectLst/>
                <a:latin typeface="Segoe UI" panose="020B0502040204020203" pitchFamily="34" charset="0"/>
              </a:rPr>
              <a:t> is a suite of business analytics tools that deliver insights throughout your organization. Connect to hundreds of data sources, simplify data prep, and drive ad hoc analysis. Produce beautiful reports, then publish them for your organization to consume on the web and across mobile device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9</a:t>
            </a:fld>
            <a:endParaRPr lang="en-IN"/>
          </a:p>
        </p:txBody>
      </p:sp>
    </p:spTree>
    <p:extLst>
      <p:ext uri="{BB962C8B-B14F-4D97-AF65-F5344CB8AC3E}">
        <p14:creationId xmlns:p14="http://schemas.microsoft.com/office/powerpoint/2010/main" val="18480611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ransform your data into actionable insights using the best-in-class machine learning tools. This architecture allows you to combine any data at any scale, and to build and deploy custom machine learning models at scale.</a:t>
            </a:r>
          </a:p>
          <a:p>
            <a:pPr algn="l">
              <a:buFont typeface="+mj-lt"/>
              <a:buAutoNum type="arabicPeriod"/>
            </a:pPr>
            <a:r>
              <a:rPr lang="en-IN" b="0" i="0" dirty="0">
                <a:solidFill>
                  <a:srgbClr val="171717"/>
                </a:solidFill>
                <a:effectLst/>
                <a:latin typeface="Segoe UI" panose="020B0502040204020203" pitchFamily="34" charset="0"/>
              </a:rPr>
              <a:t>Bring together all your structured, unstructured and semi-structured data (logs, files, and media) using Synapse Pipelines to Azure Data Lake Storage.</a:t>
            </a:r>
          </a:p>
          <a:p>
            <a:pPr algn="l">
              <a:buFont typeface="+mj-lt"/>
              <a:buAutoNum type="arabicPeriod"/>
            </a:pPr>
            <a:r>
              <a:rPr lang="en-IN" b="0" i="0" dirty="0">
                <a:solidFill>
                  <a:srgbClr val="171717"/>
                </a:solidFill>
                <a:effectLst/>
                <a:latin typeface="Segoe UI" panose="020B0502040204020203" pitchFamily="34" charset="0"/>
              </a:rPr>
              <a:t>Use Apache Spark pools to clean and transform the structureless datasets and combine them with structured data from operational databases or data warehouses.</a:t>
            </a:r>
          </a:p>
          <a:p>
            <a:pPr algn="l">
              <a:buFont typeface="+mj-lt"/>
              <a:buAutoNum type="arabicPeriod"/>
            </a:pPr>
            <a:r>
              <a:rPr lang="en-IN" b="0" i="0" dirty="0">
                <a:solidFill>
                  <a:srgbClr val="171717"/>
                </a:solidFill>
                <a:effectLst/>
                <a:latin typeface="Segoe UI" panose="020B0502040204020203" pitchFamily="34" charset="0"/>
              </a:rPr>
              <a:t>Use scalable machine learning/deep learning techniques, to derive deeper insights from this data using Python, Scala or .NET, with notebook experiences in Apache Spark pool.</a:t>
            </a:r>
          </a:p>
          <a:p>
            <a:pPr algn="l">
              <a:buFont typeface="+mj-lt"/>
              <a:buAutoNum type="arabicPeriod"/>
            </a:pPr>
            <a:r>
              <a:rPr lang="en-IN" b="0" i="0" dirty="0">
                <a:solidFill>
                  <a:srgbClr val="171717"/>
                </a:solidFill>
                <a:effectLst/>
                <a:latin typeface="Segoe UI" panose="020B0502040204020203" pitchFamily="34" charset="0"/>
              </a:rPr>
              <a:t>Leverage Apache Spark pool and Synapse Pipelines in Azure Synapse Analytics to access and move data at scale.</a:t>
            </a:r>
          </a:p>
          <a:p>
            <a:pPr algn="l">
              <a:buFont typeface="+mj-lt"/>
              <a:buAutoNum type="arabicPeriod"/>
            </a:pPr>
            <a:r>
              <a:rPr lang="en-IN" b="0" i="0" dirty="0">
                <a:solidFill>
                  <a:srgbClr val="171717"/>
                </a:solidFill>
                <a:effectLst/>
                <a:latin typeface="Segoe UI" panose="020B0502040204020203" pitchFamily="34" charset="0"/>
              </a:rPr>
              <a:t>Query and report on data in </a:t>
            </a:r>
            <a:r>
              <a:rPr lang="en-IN" b="0" i="0" u="none" strike="noStrike" dirty="0">
                <a:solidFill>
                  <a:srgbClr val="171717"/>
                </a:solidFill>
                <a:effectLst/>
                <a:latin typeface="Segoe UI" panose="020B0502040204020203" pitchFamily="34" charset="0"/>
                <a:hlinkClick r:id="rId3"/>
              </a:rPr>
              <a:t>Power BI</a:t>
            </a:r>
            <a:r>
              <a:rPr lang="en-IN" b="0" i="0" dirty="0">
                <a:solidFill>
                  <a:srgbClr val="171717"/>
                </a:solidFill>
                <a:effectLst/>
                <a:latin typeface="Segoe UI" panose="020B0502040204020203" pitchFamily="34" charset="0"/>
              </a:rPr>
              <a:t>.</a:t>
            </a:r>
          </a:p>
          <a:p>
            <a:pPr algn="l">
              <a:buFont typeface="+mj-lt"/>
              <a:buAutoNum type="arabicPeriod"/>
            </a:pPr>
            <a:r>
              <a:rPr lang="en-IN" b="0" i="0" dirty="0">
                <a:solidFill>
                  <a:srgbClr val="171717"/>
                </a:solidFill>
                <a:effectLst/>
                <a:latin typeface="Segoe UI" panose="020B0502040204020203" pitchFamily="34" charset="0"/>
              </a:rPr>
              <a:t>Take the insights from Apache Spark pools to Cosmos DB to make them accessible through web and mobile app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0</a:t>
            </a:fld>
            <a:endParaRPr lang="en-IN"/>
          </a:p>
        </p:txBody>
      </p:sp>
    </p:spTree>
    <p:extLst>
      <p:ext uri="{BB962C8B-B14F-4D97-AF65-F5344CB8AC3E}">
        <p14:creationId xmlns:p14="http://schemas.microsoft.com/office/powerpoint/2010/main" val="967476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Get insights from live streaming data with ease. Capture data continuously from any IoT device, or logs from website clickstreams, and process it in near-real time.</a:t>
            </a:r>
          </a:p>
          <a:p>
            <a:pPr algn="l">
              <a:buFont typeface="+mj-lt"/>
              <a:buAutoNum type="arabicPeriod"/>
            </a:pPr>
            <a:r>
              <a:rPr lang="en-IN" b="0" i="0" dirty="0">
                <a:solidFill>
                  <a:srgbClr val="171717"/>
                </a:solidFill>
                <a:effectLst/>
                <a:latin typeface="Segoe UI" panose="020B0502040204020203" pitchFamily="34" charset="0"/>
              </a:rPr>
              <a:t>Easily ingest live streaming data for an application using Azure Event Hubs.</a:t>
            </a:r>
          </a:p>
          <a:p>
            <a:pPr algn="l">
              <a:buFont typeface="+mj-lt"/>
              <a:buAutoNum type="arabicPeriod"/>
            </a:pPr>
            <a:r>
              <a:rPr lang="en-IN" b="0" i="0" dirty="0">
                <a:solidFill>
                  <a:srgbClr val="171717"/>
                </a:solidFill>
                <a:effectLst/>
                <a:latin typeface="Segoe UI" panose="020B0502040204020203" pitchFamily="34" charset="0"/>
              </a:rPr>
              <a:t>Bring together all your structured data using Synapse Pipelines to Azure Blob Storage.</a:t>
            </a:r>
          </a:p>
          <a:p>
            <a:pPr algn="l">
              <a:buFont typeface="+mj-lt"/>
              <a:buAutoNum type="arabicPeriod"/>
            </a:pPr>
            <a:r>
              <a:rPr lang="en-IN" b="0" i="0" dirty="0">
                <a:solidFill>
                  <a:srgbClr val="171717"/>
                </a:solidFill>
                <a:effectLst/>
                <a:latin typeface="Segoe UI" panose="020B0502040204020203" pitchFamily="34" charset="0"/>
              </a:rPr>
              <a:t>Take advantage of Apache Spark pools to clean, transform, and analyze the streaming data, and combine it with structured data from operational databases or data warehouses.</a:t>
            </a:r>
          </a:p>
          <a:p>
            <a:pPr algn="l">
              <a:buFont typeface="+mj-lt"/>
              <a:buAutoNum type="arabicPeriod"/>
            </a:pPr>
            <a:r>
              <a:rPr lang="en-IN" b="0" i="0" dirty="0">
                <a:solidFill>
                  <a:srgbClr val="171717"/>
                </a:solidFill>
                <a:effectLst/>
                <a:latin typeface="Segoe UI" panose="020B0502040204020203" pitchFamily="34" charset="0"/>
              </a:rPr>
              <a:t>Use scalable machine learning/deep learning techniques, to derive deeper insights from this data, using Python, Scala, or .NET, with notebook experiences in Apache Spark pools.</a:t>
            </a:r>
          </a:p>
          <a:p>
            <a:pPr algn="l">
              <a:buFont typeface="+mj-lt"/>
              <a:buAutoNum type="arabicPeriod"/>
            </a:pPr>
            <a:r>
              <a:rPr lang="en-IN" b="0" i="0" dirty="0">
                <a:solidFill>
                  <a:srgbClr val="171717"/>
                </a:solidFill>
                <a:effectLst/>
                <a:latin typeface="Segoe UI" panose="020B0502040204020203" pitchFamily="34" charset="0"/>
              </a:rPr>
              <a:t>Leverage Apache Spark pool and Synapse Pipelines in Azure Synapse Analytics to access and move data at scale.</a:t>
            </a:r>
          </a:p>
          <a:p>
            <a:pPr algn="l">
              <a:buFont typeface="+mj-lt"/>
              <a:buAutoNum type="arabicPeriod"/>
            </a:pPr>
            <a:r>
              <a:rPr lang="en-IN" b="0" i="0" dirty="0">
                <a:solidFill>
                  <a:srgbClr val="171717"/>
                </a:solidFill>
                <a:effectLst/>
                <a:latin typeface="Segoe UI" panose="020B0502040204020203" pitchFamily="34" charset="0"/>
              </a:rPr>
              <a:t>Build analytics dashboards and embedded reports in dedicated SQL pool to share insights within your organization and use Azure Analysis Services to serve this data to thousands of users.</a:t>
            </a:r>
          </a:p>
          <a:p>
            <a:pPr algn="l">
              <a:buFont typeface="+mj-lt"/>
              <a:buAutoNum type="arabicPeriod"/>
            </a:pPr>
            <a:r>
              <a:rPr lang="en-IN" b="0" i="0" dirty="0">
                <a:solidFill>
                  <a:srgbClr val="171717"/>
                </a:solidFill>
                <a:effectLst/>
                <a:latin typeface="Segoe UI" panose="020B0502040204020203" pitchFamily="34" charset="0"/>
              </a:rPr>
              <a:t>Take the insights from Apache Spark pools to Cosmos DB to make them accessible through real time app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1</a:t>
            </a:fld>
            <a:endParaRPr lang="en-IN"/>
          </a:p>
        </p:txBody>
      </p:sp>
    </p:spTree>
    <p:extLst>
      <p:ext uri="{BB962C8B-B14F-4D97-AF65-F5344CB8AC3E}">
        <p14:creationId xmlns:p14="http://schemas.microsoft.com/office/powerpoint/2010/main" val="2629861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RO" dirty="0"/>
          </a:p>
        </p:txBody>
      </p:sp>
      <p:sp>
        <p:nvSpPr>
          <p:cNvPr id="4" name="Slide Number Placeholder 3"/>
          <p:cNvSpPr>
            <a:spLocks noGrp="1"/>
          </p:cNvSpPr>
          <p:nvPr>
            <p:ph type="sldNum" sz="quarter" idx="5"/>
          </p:nvPr>
        </p:nvSpPr>
        <p:spPr/>
        <p:txBody>
          <a:bodyPr/>
          <a:lstStyle/>
          <a:p>
            <a:fld id="{ED996846-AE39-468A-975A-8BF696CEE41E}" type="slidenum">
              <a:rPr lang="en-IN" smtClean="0"/>
              <a:t>34</a:t>
            </a:fld>
            <a:endParaRPr lang="en-IN"/>
          </a:p>
        </p:txBody>
      </p:sp>
    </p:spTree>
    <p:extLst>
      <p:ext uri="{BB962C8B-B14F-4D97-AF65-F5344CB8AC3E}">
        <p14:creationId xmlns:p14="http://schemas.microsoft.com/office/powerpoint/2010/main" val="11841020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7</a:t>
            </a:fld>
            <a:endParaRPr lang="en-IN"/>
          </a:p>
        </p:txBody>
      </p:sp>
    </p:spTree>
    <p:extLst>
      <p:ext uri="{BB962C8B-B14F-4D97-AF65-F5344CB8AC3E}">
        <p14:creationId xmlns:p14="http://schemas.microsoft.com/office/powerpoint/2010/main" val="33760885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Monitoring solutions can contain multiple types of Azure resources, and you can view any resources included with a solution just like any other resource. For example, any log queries included in the solution are listed under </a:t>
            </a:r>
            <a:r>
              <a:rPr lang="en-IN" b="1" i="0" dirty="0">
                <a:solidFill>
                  <a:srgbClr val="171717"/>
                </a:solidFill>
                <a:effectLst/>
                <a:latin typeface="Segoe UI" panose="020B0502040204020203" pitchFamily="34" charset="0"/>
              </a:rPr>
              <a:t>Solution Queries</a:t>
            </a:r>
            <a:r>
              <a:rPr lang="en-IN" b="0" i="0" dirty="0">
                <a:solidFill>
                  <a:srgbClr val="171717"/>
                </a:solidFill>
                <a:effectLst/>
                <a:latin typeface="Segoe UI" panose="020B0502040204020203" pitchFamily="34" charset="0"/>
              </a:rPr>
              <a:t> in </a:t>
            </a:r>
            <a:r>
              <a:rPr lang="en-IN" b="0" i="0" u="none" strike="noStrike" dirty="0">
                <a:effectLst/>
                <a:latin typeface="Segoe UI" panose="020B0502040204020203" pitchFamily="34" charset="0"/>
                <a:hlinkClick r:id="rId3"/>
              </a:rPr>
              <a:t>Query explorer</a:t>
            </a:r>
            <a:r>
              <a:rPr lang="en-IN" b="0" i="0" dirty="0">
                <a:solidFill>
                  <a:srgbClr val="171717"/>
                </a:solidFill>
                <a:effectLst/>
                <a:latin typeface="Segoe UI" panose="020B0502040204020203" pitchFamily="34" charset="0"/>
              </a:rPr>
              <a:t>. You can use those queries when performing ad hoc analysis with </a:t>
            </a:r>
            <a:r>
              <a:rPr lang="en-IN" b="0" i="0" u="none" strike="noStrike" dirty="0">
                <a:effectLst/>
                <a:latin typeface="Segoe UI" panose="020B0502040204020203" pitchFamily="34" charset="0"/>
                <a:hlinkClick r:id="rId4"/>
              </a:rPr>
              <a:t>log queries</a:t>
            </a:r>
            <a:r>
              <a:rPr lang="en-IN" b="0" i="0" dirty="0">
                <a:solidFill>
                  <a:srgbClr val="171717"/>
                </a:solidFill>
                <a:effectLst/>
                <a:latin typeface="Segoe UI" panose="020B0502040204020203" pitchFamily="34" charset="0"/>
              </a:rPr>
              <a: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0</a:t>
            </a:fld>
            <a:endParaRPr lang="en-IN"/>
          </a:p>
        </p:txBody>
      </p:sp>
    </p:spTree>
    <p:extLst>
      <p:ext uri="{BB962C8B-B14F-4D97-AF65-F5344CB8AC3E}">
        <p14:creationId xmlns:p14="http://schemas.microsoft.com/office/powerpoint/2010/main" val="2242507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i="0" u="none" strike="noStrike" baseline="0" dirty="0">
                <a:latin typeface="SegoeUI-Bold"/>
              </a:rPr>
              <a:t>Scalability </a:t>
            </a:r>
            <a:r>
              <a:rPr lang="en-IN" sz="1800" b="0" i="0" u="none" strike="noStrike" baseline="0" dirty="0">
                <a:latin typeface="SegoeUI"/>
              </a:rPr>
              <a:t>Design the system to be able scale out by adding new instances.</a:t>
            </a:r>
            <a:endParaRPr lang="en-IN" sz="1800" dirty="0"/>
          </a:p>
          <a:p>
            <a:pPr algn="l"/>
            <a:endParaRPr lang="en-IN" sz="1800" b="1" i="0" u="none" strike="noStrike" baseline="0" dirty="0">
              <a:latin typeface="SegoeUI-Bold"/>
            </a:endParaRPr>
          </a:p>
          <a:p>
            <a:pPr algn="l"/>
            <a:r>
              <a:rPr lang="en-IN" sz="1800" b="1" i="0" u="none" strike="noStrike" baseline="0" dirty="0">
                <a:latin typeface="SegoeUI-Bold"/>
              </a:rPr>
              <a:t>Availability </a:t>
            </a:r>
            <a:r>
              <a:rPr lang="en-IN" sz="1800" b="0" i="0" u="none" strike="noStrike" baseline="0" dirty="0">
                <a:latin typeface="SegoeUI"/>
              </a:rPr>
              <a:t>Define a service level objective (SLO) that clearly defines the expected availability, and how it is measured. Use the critical path to define. An extra percentage point of availability can add up to additional hours or days of uptime over a year.</a:t>
            </a:r>
          </a:p>
          <a:p>
            <a:pPr algn="l"/>
            <a:endParaRPr lang="en-IN" sz="1800" b="1" i="0" u="none" strike="noStrike" baseline="0" dirty="0">
              <a:latin typeface="SegoeUI-Bold"/>
            </a:endParaRPr>
          </a:p>
          <a:p>
            <a:pPr algn="l"/>
            <a:r>
              <a:rPr lang="en-IN" sz="1800" b="1" i="0" u="none" strike="noStrike" baseline="0" dirty="0">
                <a:latin typeface="SegoeUI-Bold"/>
              </a:rPr>
              <a:t>Resiliency </a:t>
            </a:r>
            <a:r>
              <a:rPr lang="en-IN" sz="1800" b="0" i="0" u="none" strike="noStrike" baseline="0" dirty="0">
                <a:latin typeface="SegoeUI"/>
              </a:rPr>
              <a:t>Cloud applications have occasional failures and must be built to recover from them. Build resiliency mitigations into your application at all levels. Focus on tactical mitigations first, and include monitoring.</a:t>
            </a:r>
            <a:endParaRPr lang="en-IN" sz="1800" b="1" i="0" u="none" strike="noStrike" baseline="0" dirty="0">
              <a:latin typeface="SegoeUI-Bold"/>
            </a:endParaRPr>
          </a:p>
          <a:p>
            <a:pPr algn="l"/>
            <a:endParaRPr lang="en-IN" sz="1800" b="1" i="0" u="none" strike="noStrike" baseline="0" dirty="0">
              <a:latin typeface="SegoeUI-Bold"/>
            </a:endParaRPr>
          </a:p>
          <a:p>
            <a:pPr algn="l"/>
            <a:r>
              <a:rPr lang="en-IN" sz="1800" b="1" i="0" u="none" strike="noStrike" baseline="0" dirty="0">
                <a:latin typeface="SegoeUI-Bold"/>
              </a:rPr>
              <a:t>Management </a:t>
            </a:r>
            <a:r>
              <a:rPr lang="en-IN" sz="1800" b="0" i="0" u="none" strike="noStrike" baseline="0" dirty="0">
                <a:latin typeface="SegoeUI"/>
              </a:rPr>
              <a:t>Automate deployments and make them a fast and routine process to speed the release of new features or bug fixes. Build in roll back or roll forward operations, and include monitoring and diagnostics.</a:t>
            </a:r>
          </a:p>
          <a:p>
            <a:pPr algn="l"/>
            <a:endParaRPr lang="en-IN" sz="1800" b="1" i="0" u="none" strike="noStrike" baseline="0" dirty="0">
              <a:latin typeface="SegoeUI-Bold"/>
            </a:endParaRPr>
          </a:p>
          <a:p>
            <a:pPr algn="l"/>
            <a:r>
              <a:rPr lang="en-IN" sz="1800" b="1" i="0" u="none" strike="noStrike" baseline="0" dirty="0">
                <a:latin typeface="SegoeUI-Bold"/>
              </a:rPr>
              <a:t>Security </a:t>
            </a:r>
            <a:r>
              <a:rPr lang="en-IN" sz="1800" b="0" i="0" u="none" strike="noStrike" baseline="0" dirty="0">
                <a:latin typeface="SegoeUI"/>
              </a:rPr>
              <a:t>Build identity management, infrastructure protection, and data sovereignty and encryption into your application and into your DevOps processes.</a:t>
            </a:r>
            <a:endParaRPr lang="en-IN" sz="1800" b="1" i="0" u="none" strike="noStrike" baseline="0" dirty="0">
              <a:latin typeface="SegoeUI-Bold"/>
            </a:endParaRPr>
          </a:p>
          <a:p>
            <a:pPr algn="l"/>
            <a:endParaRPr lang="en-IN" sz="1800" b="1" i="0" u="none" strike="noStrike" baseline="0" dirty="0">
              <a:latin typeface="SegoeUI-Bold"/>
            </a:endParaRPr>
          </a:p>
        </p:txBody>
      </p:sp>
      <p:sp>
        <p:nvSpPr>
          <p:cNvPr id="4" name="Slide Number Placeholder 3"/>
          <p:cNvSpPr>
            <a:spLocks noGrp="1"/>
          </p:cNvSpPr>
          <p:nvPr>
            <p:ph type="sldNum" sz="quarter" idx="5"/>
          </p:nvPr>
        </p:nvSpPr>
        <p:spPr/>
        <p:txBody>
          <a:bodyPr/>
          <a:lstStyle/>
          <a:p>
            <a:fld id="{ED996846-AE39-468A-975A-8BF696CEE41E}" type="slidenum">
              <a:rPr lang="en-IN" smtClean="0"/>
              <a:t>4</a:t>
            </a:fld>
            <a:endParaRPr lang="en-IN"/>
          </a:p>
        </p:txBody>
      </p:sp>
    </p:spTree>
    <p:extLst>
      <p:ext uri="{BB962C8B-B14F-4D97-AF65-F5344CB8AC3E}">
        <p14:creationId xmlns:p14="http://schemas.microsoft.com/office/powerpoint/2010/main" val="3232673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One of the best reasons to use Azure for your applications and services is to take advantage of its wide array of security tools and capabilities. These tools and capabilities help make it possible to create secure solutions on the secure Azure platform. Microsoft Azure provides confidentiality, integrity, and availability of customer data, while also enabling transparent accountability.</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2</a:t>
            </a:fld>
            <a:endParaRPr lang="en-IN"/>
          </a:p>
        </p:txBody>
      </p:sp>
    </p:spTree>
    <p:extLst>
      <p:ext uri="{BB962C8B-B14F-4D97-AF65-F5344CB8AC3E}">
        <p14:creationId xmlns:p14="http://schemas.microsoft.com/office/powerpoint/2010/main" val="24241412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8</a:t>
            </a:fld>
            <a:endParaRPr lang="en-IN"/>
          </a:p>
        </p:txBody>
      </p:sp>
    </p:spTree>
    <p:extLst>
      <p:ext uri="{BB962C8B-B14F-4D97-AF65-F5344CB8AC3E}">
        <p14:creationId xmlns:p14="http://schemas.microsoft.com/office/powerpoint/2010/main" val="7706642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docs.microsoft.com/en-us/azure/security/fundamentals/end-to-end</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9</a:t>
            </a:fld>
            <a:endParaRPr lang="en-IN"/>
          </a:p>
        </p:txBody>
      </p:sp>
    </p:spTree>
    <p:extLst>
      <p:ext uri="{BB962C8B-B14F-4D97-AF65-F5344CB8AC3E}">
        <p14:creationId xmlns:p14="http://schemas.microsoft.com/office/powerpoint/2010/main" val="13758281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docs.microsoft.com/en-us/azure/security/fundamentals/end-to-end</a:t>
            </a:r>
          </a:p>
        </p:txBody>
      </p:sp>
      <p:sp>
        <p:nvSpPr>
          <p:cNvPr id="4" name="Slide Number Placeholder 3"/>
          <p:cNvSpPr>
            <a:spLocks noGrp="1"/>
          </p:cNvSpPr>
          <p:nvPr>
            <p:ph type="sldNum" sz="quarter" idx="5"/>
          </p:nvPr>
        </p:nvSpPr>
        <p:spPr/>
        <p:txBody>
          <a:bodyPr/>
          <a:lstStyle/>
          <a:p>
            <a:fld id="{ED996846-AE39-468A-975A-8BF696CEE41E}" type="slidenum">
              <a:rPr lang="en-IN" smtClean="0"/>
              <a:t>50</a:t>
            </a:fld>
            <a:endParaRPr lang="en-IN"/>
          </a:p>
        </p:txBody>
      </p:sp>
    </p:spTree>
    <p:extLst>
      <p:ext uri="{BB962C8B-B14F-4D97-AF65-F5344CB8AC3E}">
        <p14:creationId xmlns:p14="http://schemas.microsoft.com/office/powerpoint/2010/main" val="1008355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docs.microsoft.com/en-us/azure/security/fundamentals/end-to-end</a:t>
            </a:r>
          </a:p>
        </p:txBody>
      </p:sp>
      <p:sp>
        <p:nvSpPr>
          <p:cNvPr id="4" name="Slide Number Placeholder 3"/>
          <p:cNvSpPr>
            <a:spLocks noGrp="1"/>
          </p:cNvSpPr>
          <p:nvPr>
            <p:ph type="sldNum" sz="quarter" idx="5"/>
          </p:nvPr>
        </p:nvSpPr>
        <p:spPr/>
        <p:txBody>
          <a:bodyPr/>
          <a:lstStyle/>
          <a:p>
            <a:fld id="{ED996846-AE39-468A-975A-8BF696CEE41E}" type="slidenum">
              <a:rPr lang="en-IN" smtClean="0"/>
              <a:t>51</a:t>
            </a:fld>
            <a:endParaRPr lang="en-IN"/>
          </a:p>
        </p:txBody>
      </p:sp>
    </p:spTree>
    <p:extLst>
      <p:ext uri="{BB962C8B-B14F-4D97-AF65-F5344CB8AC3E}">
        <p14:creationId xmlns:p14="http://schemas.microsoft.com/office/powerpoint/2010/main" val="23391068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7</a:t>
            </a:fld>
            <a:endParaRPr lang="en-IN"/>
          </a:p>
        </p:txBody>
      </p:sp>
    </p:spTree>
    <p:extLst>
      <p:ext uri="{BB962C8B-B14F-4D97-AF65-F5344CB8AC3E}">
        <p14:creationId xmlns:p14="http://schemas.microsoft.com/office/powerpoint/2010/main" val="537976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u="none" strike="noStrike" baseline="0" dirty="0">
                <a:solidFill>
                  <a:schemeClr val="tx1"/>
                </a:solidFill>
                <a:latin typeface="SegoeUI"/>
              </a:rPr>
              <a:t>Scalability is the ability of a system to handle increased load. There are two main ways that an application can scale.</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a:t>
            </a:fld>
            <a:endParaRPr lang="en-IN"/>
          </a:p>
        </p:txBody>
      </p:sp>
    </p:spTree>
    <p:extLst>
      <p:ext uri="{BB962C8B-B14F-4D97-AF65-F5344CB8AC3E}">
        <p14:creationId xmlns:p14="http://schemas.microsoft.com/office/powerpoint/2010/main" val="3537815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latin typeface="SegoeUI"/>
              </a:rPr>
              <a:t>Horizontal scaling has significant advantages over vertical scaling:</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7</a:t>
            </a:fld>
            <a:endParaRPr lang="en-IN"/>
          </a:p>
        </p:txBody>
      </p:sp>
    </p:spTree>
    <p:extLst>
      <p:ext uri="{BB962C8B-B14F-4D97-AF65-F5344CB8AC3E}">
        <p14:creationId xmlns:p14="http://schemas.microsoft.com/office/powerpoint/2010/main" val="1206279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latin typeface="SegoeUI"/>
              </a:rPr>
              <a:t>Horizontal scaling has significant advantages over vertical scaling:</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8</a:t>
            </a:fld>
            <a:endParaRPr lang="en-IN"/>
          </a:p>
        </p:txBody>
      </p:sp>
    </p:spTree>
    <p:extLst>
      <p:ext uri="{BB962C8B-B14F-4D97-AF65-F5344CB8AC3E}">
        <p14:creationId xmlns:p14="http://schemas.microsoft.com/office/powerpoint/2010/main" val="23087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latin typeface="SegoeUI"/>
              </a:rPr>
              <a:t>Horizontal scaling has significant advantages over vertical scaling:</a:t>
            </a:r>
          </a:p>
          <a:p>
            <a:endParaRPr lang="en-IN" sz="1800" b="0" i="0" u="none" strike="noStrike" baseline="0" dirty="0">
              <a:latin typeface="SegoeUI"/>
            </a:endParaRPr>
          </a:p>
          <a:p>
            <a:pPr algn="l"/>
            <a:r>
              <a:rPr lang="en-IN" sz="1800" b="0" i="0" u="none" strike="noStrike" baseline="0" dirty="0">
                <a:latin typeface="SegoeUI"/>
              </a:rPr>
              <a:t>Horizontal scale must be designed into the system. For example, you can scale out VMs by placing them behind a load balancer. But each VM in the pool must be able to handle any client request, so the application must be stateless or store state externally (say, in a distributed cache). Managed PaaS services often have horizontal scaling and auto-scaling built i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9</a:t>
            </a:fld>
            <a:endParaRPr lang="en-IN"/>
          </a:p>
        </p:txBody>
      </p:sp>
    </p:spTree>
    <p:extLst>
      <p:ext uri="{BB962C8B-B14F-4D97-AF65-F5344CB8AC3E}">
        <p14:creationId xmlns:p14="http://schemas.microsoft.com/office/powerpoint/2010/main" val="1090408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Autoscaling enables you to run the right amount of resources to handle the load of your app. It adds resources (called scaling out) to handle an increase in load such as seasonal workloads. Autoscaling saves money by removing idle resources (called scaling in) during a decrease in load such as nights and weekends for some corporate apps.</a:t>
            </a:r>
          </a:p>
          <a:p>
            <a:pPr algn="l"/>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You automatically scale between the minimum and maximum number of instances to run and add or remove VMs automatically based on a set of rule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0</a:t>
            </a:fld>
            <a:endParaRPr lang="en-IN"/>
          </a:p>
        </p:txBody>
      </p:sp>
    </p:spTree>
    <p:extLst>
      <p:ext uri="{BB962C8B-B14F-4D97-AF65-F5344CB8AC3E}">
        <p14:creationId xmlns:p14="http://schemas.microsoft.com/office/powerpoint/2010/main" val="1292225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sz="1200" b="0" i="0" u="none" strike="noStrike" baseline="0" dirty="0">
                <a:solidFill>
                  <a:schemeClr val="tx1"/>
                </a:solidFill>
                <a:latin typeface="SegoeUI"/>
              </a:rPr>
              <a:t>At that point, any further scaling must be horizontal.</a:t>
            </a:r>
          </a:p>
          <a:p>
            <a:pPr algn="l"/>
            <a:endParaRPr lang="en-IN" sz="1200" b="0" i="0" u="none" strike="noStrike" baseline="0" dirty="0">
              <a:solidFill>
                <a:schemeClr val="tx1"/>
              </a:solidFill>
              <a:latin typeface="SegoeUI"/>
            </a:endParaRPr>
          </a:p>
          <a:p>
            <a:pPr algn="l"/>
            <a:r>
              <a:rPr lang="en-IN" sz="1800" b="0" i="0" u="none" strike="noStrike" baseline="0" dirty="0">
                <a:latin typeface="SegoeUI"/>
              </a:rPr>
              <a:t>However, just adding more instances doesn’t mean an application will scale. It might simply push the bottleneck somewhere else. For example, if you scale a web front-end to handle more client requests, that might trigger lock contentions in the database. You would then need to consider additional measures, such as optimistic concurrency or data partitioning, to enable more throughput to the</a:t>
            </a:r>
          </a:p>
          <a:p>
            <a:pPr algn="l"/>
            <a:r>
              <a:rPr lang="en-IN" sz="1800" b="0" i="0" u="none" strike="noStrike" baseline="0" dirty="0">
                <a:latin typeface="SegoeUI"/>
              </a:rPr>
              <a:t>database.</a:t>
            </a:r>
          </a:p>
          <a:p>
            <a:pPr algn="l"/>
            <a:r>
              <a:rPr lang="en-IN" sz="1800" b="0" i="0" u="none" strike="noStrike" baseline="0" dirty="0">
                <a:latin typeface="SegoeUI"/>
              </a:rPr>
              <a:t>Always conduct performance and load testing to find these potential bottlenecks. The stateful parts of a system, such as databases, are the most common cause of bottlenecks, and require careful design to scale horizontally. Resolving one bottleneck may reveal other bottlenecks elsewhere.</a:t>
            </a:r>
          </a:p>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1</a:t>
            </a:fld>
            <a:endParaRPr lang="en-IN"/>
          </a:p>
        </p:txBody>
      </p:sp>
    </p:spTree>
    <p:extLst>
      <p:ext uri="{BB962C8B-B14F-4D97-AF65-F5344CB8AC3E}">
        <p14:creationId xmlns:p14="http://schemas.microsoft.com/office/powerpoint/2010/main" val="18392241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6.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6.emf"/><Relationship Id="rId5" Type="http://schemas.openxmlformats.org/officeDocument/2006/relationships/tags" Target="../tags/tag10.xml"/><Relationship Id="rId10" Type="http://schemas.openxmlformats.org/officeDocument/2006/relationships/oleObject" Target="../embeddings/oleObject2.bin"/><Relationship Id="rId4" Type="http://schemas.openxmlformats.org/officeDocument/2006/relationships/tags" Target="../tags/tag9.xml"/><Relationship Id="rId9"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6.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6.emf"/><Relationship Id="rId4" Type="http://schemas.openxmlformats.org/officeDocument/2006/relationships/tags" Target="../tags/tag22.xml"/><Relationship Id="rId9"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43288"/>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E082ABFB-60E7-4BA1-866A-7059F058065B}" type="datetime1">
              <a:rPr lang="en-US" smtClean="0"/>
              <a:t>6/10/21</a:t>
            </a:fld>
            <a:endParaRPr lang="en-US"/>
          </a:p>
        </p:txBody>
      </p:sp>
      <p:sp>
        <p:nvSpPr>
          <p:cNvPr id="6"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7"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973646710"/>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2694112F-55F4-4776-A323-7418930321C8}" type="datetime1">
              <a:rPr lang="en-US" smtClean="0"/>
              <a:t>6/10/21</a:t>
            </a:fld>
            <a:endParaRPr lang="en-US"/>
          </a:p>
        </p:txBody>
      </p:sp>
      <p:sp>
        <p:nvSpPr>
          <p:cNvPr id="6"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7"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94660950"/>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6DD8DC11-9E39-40A0-B3DC-E3F2AD04A616}" type="datetime1">
              <a:rPr lang="en-US" smtClean="0"/>
              <a:t>6/10/21</a:t>
            </a:fld>
            <a:endParaRPr lang="en-US"/>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773076578"/>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614276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16239057"/>
      </p:ext>
    </p:extLst>
  </p:cSld>
  <p:clrMapOvr>
    <a:masterClrMapping/>
  </p:clrMapOvr>
  <p:transition>
    <p:fade/>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3339410302"/>
      </p:ext>
    </p:extLst>
  </p:cSld>
  <p:clrMapOvr>
    <a:masterClrMapping/>
  </p:clrMapOvr>
  <p:transition>
    <p:fade/>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551739231"/>
      </p:ext>
    </p:extLst>
  </p:cSld>
  <p:clrMapOvr>
    <a:masterClrMapping/>
  </p:clrMapOvr>
  <p:transition>
    <p:fade/>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40880405"/>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17589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639188060"/>
      </p:ext>
    </p:extLst>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BE0A88F0-556B-4BB7-8AAB-D63AEB65C662}" type="datetime1">
              <a:rPr lang="en-US" smtClean="0"/>
              <a:t>6/10/21</a:t>
            </a:fld>
            <a:endParaRPr lang="en-US"/>
          </a:p>
        </p:txBody>
      </p:sp>
      <p:sp>
        <p:nvSpPr>
          <p:cNvPr id="7"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10"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9947685"/>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09858017"/>
      </p:ext>
    </p:extLst>
  </p:cSld>
  <p:clrMapOvr>
    <a:masterClrMapping/>
  </p:clrMapOvr>
  <p:transition>
    <p:fade/>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365366155"/>
      </p:ext>
    </p:extLst>
  </p:cSld>
  <p:clrMapOvr>
    <a:masterClrMapping/>
  </p:clrMapOvr>
  <p:transition>
    <p:fade/>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a:xfrm>
            <a:off x="8737600" y="6356352"/>
            <a:ext cx="2844800" cy="365125"/>
          </a:xfrm>
          <a:prstGeom prst="rect">
            <a:avLst/>
          </a:prstGeom>
        </p:spPr>
        <p:txBody>
          <a:bodyPr/>
          <a:lstStyle/>
          <a:p>
            <a:fld id="{81D2C36F-4504-47C0-B82F-A167342A2754}" type="slidenum">
              <a:rPr lang="en-US" smtClean="0"/>
              <a:t>‹#›</a:t>
            </a:fld>
            <a:endParaRPr lang="en-US" dirty="0"/>
          </a:p>
        </p:txBody>
      </p:sp>
    </p:spTree>
    <p:extLst>
      <p:ext uri="{BB962C8B-B14F-4D97-AF65-F5344CB8AC3E}">
        <p14:creationId xmlns:p14="http://schemas.microsoft.com/office/powerpoint/2010/main" val="3419079348"/>
      </p:ext>
    </p:extLst>
  </p:cSld>
  <p:clrMapOvr>
    <a:masterClrMapping/>
  </p:clrMapOvr>
  <p:transition spd="slow">
    <p:fade/>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3"/>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4"/>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5"/>
            </p:custDataLst>
          </p:nvPr>
        </p:nvSpPr>
        <p:spPr>
          <a:xfrm>
            <a:off x="3048002" y="6477887"/>
            <a:ext cx="8382000" cy="380127"/>
          </a:xfrm>
          <a:prstGeom prst="rect">
            <a:avLst/>
          </a:prstGeom>
        </p:spPr>
        <p:txBody>
          <a:bodyPr/>
          <a:lstStyle/>
          <a:p>
            <a:endParaRPr lang="en-US" dirty="0"/>
          </a:p>
        </p:txBody>
      </p:sp>
      <p:sp>
        <p:nvSpPr>
          <p:cNvPr id="5" name="Slide Number Placeholder 4"/>
          <p:cNvSpPr>
            <a:spLocks noGrp="1"/>
          </p:cNvSpPr>
          <p:nvPr>
            <p:ph type="sldNum" sz="quarter" idx="12"/>
            <p:custDataLst>
              <p:tags r:id="rId6"/>
            </p:custDataLst>
          </p:nvPr>
        </p:nvSpPr>
        <p:spPr>
          <a:xfrm>
            <a:off x="11430009" y="6478601"/>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7"/>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2975208532"/>
      </p:ext>
    </p:extLst>
  </p:cSld>
  <p:clrMapOvr>
    <a:masterClrMapping/>
  </p:clrMapOvr>
  <p:transition>
    <p:fade/>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10" imgW="360" imgH="360" progId="">
                  <p:embed/>
                </p:oleObj>
              </mc:Choice>
              <mc:Fallback>
                <p:oleObj name="think-cell Slide" r:id="rId10" imgW="360" imgH="360" progId="">
                  <p:embed/>
                  <p:pic>
                    <p:nvPicPr>
                      <p:cNvPr id="3" name="Object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3"/>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4"/>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5"/>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6"/>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7"/>
            </p:custDataLst>
          </p:nvPr>
        </p:nvSpPr>
        <p:spPr>
          <a:xfrm>
            <a:off x="11430009" y="6477876"/>
            <a:ext cx="761999" cy="380126"/>
          </a:xfrm>
          <a:prstGeom prst="rect">
            <a:avLst/>
          </a:prstGeom>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8"/>
            </p:custDataLst>
          </p:nvPr>
        </p:nvSpPr>
        <p:spPr>
          <a:xfrm>
            <a:off x="3048002" y="6477887"/>
            <a:ext cx="8382000" cy="380127"/>
          </a:xfrm>
          <a:prstGeom prst="rect">
            <a:avLst/>
          </a:prstGeom>
        </p:spPr>
        <p:txBody>
          <a:bodyPr/>
          <a:lstStyle/>
          <a:p>
            <a:endParaRPr lang="en-US" dirty="0"/>
          </a:p>
        </p:txBody>
      </p:sp>
    </p:spTree>
    <p:extLst>
      <p:ext uri="{BB962C8B-B14F-4D97-AF65-F5344CB8AC3E}">
        <p14:creationId xmlns:p14="http://schemas.microsoft.com/office/powerpoint/2010/main" val="4146716628"/>
      </p:ext>
    </p:extLst>
  </p:cSld>
  <p:clrMapOvr>
    <a:masterClrMapping/>
  </p:clrMapOvr>
  <p:transition>
    <p:fade/>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427936"/>
      </p:ext>
    </p:extLst>
  </p:cSld>
  <p:clrMapOvr>
    <a:masterClrMapping/>
  </p:clrMapOvr>
  <p:transition>
    <p:fade/>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49639092"/>
      </p:ext>
    </p:extLst>
  </p:cSld>
  <p:clrMapOvr>
    <a:masterClrMapping/>
  </p:clrMapOvr>
  <p:transition spd="slow">
    <p:fade/>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0/21</a:t>
            </a:fld>
            <a:endParaRPr lang="en-US" dirty="0"/>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37211919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0/21</a:t>
            </a:fld>
            <a:endParaRPr lang="en-US" dirty="0"/>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2493111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0/21</a:t>
            </a:fld>
            <a:endParaRPr lang="en-US" dirty="0"/>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1202450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CFBEA57F-793F-4683-BD8A-741FD4B89154}" type="datetime1">
              <a:rPr lang="en-US" smtClean="0"/>
              <a:t>6/10/21</a:t>
            </a:fld>
            <a:endParaRPr lang="en-US" dirty="0"/>
          </a:p>
        </p:txBody>
      </p:sp>
      <p:sp>
        <p:nvSpPr>
          <p:cNvPr id="7"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3875711351"/>
      </p:ext>
    </p:extLst>
  </p:cSld>
  <p:clrMapOvr>
    <a:masterClrMapping/>
  </p:clrMapOvr>
  <p:transition spd="slow">
    <p:fade/>
  </p:transition>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3"/>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4"/>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5"/>
            </p:custDataLst>
          </p:nvPr>
        </p:nvSpPr>
        <p:spPr>
          <a:xfrm>
            <a:off x="4165600" y="6356352"/>
            <a:ext cx="3860800" cy="365125"/>
          </a:xfrm>
          <a:prstGeom prst="rect">
            <a:avLst/>
          </a:prstGeom>
        </p:spPr>
        <p:txBody>
          <a:bodyPr/>
          <a:lstStyle/>
          <a:p>
            <a:endParaRPr lang="en-US" dirty="0"/>
          </a:p>
        </p:txBody>
      </p:sp>
      <p:sp>
        <p:nvSpPr>
          <p:cNvPr id="5" name="Slide Number Placeholder 4"/>
          <p:cNvSpPr>
            <a:spLocks noGrp="1"/>
          </p:cNvSpPr>
          <p:nvPr>
            <p:ph type="sldNum" sz="quarter" idx="12"/>
            <p:custDataLst>
              <p:tags r:id="rId6"/>
            </p:custDataLst>
          </p:nvPr>
        </p:nvSpPr>
        <p:spPr>
          <a:xfrm>
            <a:off x="11430008" y="6478600"/>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7"/>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2712501592"/>
      </p:ext>
    </p:extLst>
  </p:cSld>
  <p:clrMapOvr>
    <a:masterClrMapping/>
  </p:clrMapOvr>
  <p:transition>
    <p:fade/>
  </p:transition>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0766329"/>
      </p:ext>
    </p:extLst>
  </p:cSld>
  <p:clrMapOvr>
    <a:masterClrMapping/>
  </p:clrMapOvr>
  <p:transition>
    <p:fade/>
  </p:transition>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8737600" y="6356352"/>
            <a:ext cx="2844800" cy="365125"/>
          </a:xfrm>
          <a:prstGeom prst="rect">
            <a:avLst/>
          </a:prstGeom>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7"/>
            </p:custDataLst>
          </p:nvPr>
        </p:nvSpPr>
        <p:spPr>
          <a:xfrm>
            <a:off x="4165600" y="6356352"/>
            <a:ext cx="3860800" cy="365125"/>
          </a:xfrm>
          <a:prstGeom prst="rect">
            <a:avLst/>
          </a:prstGeom>
        </p:spPr>
        <p:txBody>
          <a:bodyPr/>
          <a:lstStyle/>
          <a:p>
            <a:endParaRPr lang="en-US" dirty="0"/>
          </a:p>
        </p:txBody>
      </p:sp>
    </p:spTree>
    <p:extLst>
      <p:ext uri="{BB962C8B-B14F-4D97-AF65-F5344CB8AC3E}">
        <p14:creationId xmlns:p14="http://schemas.microsoft.com/office/powerpoint/2010/main" val="3597003053"/>
      </p:ext>
    </p:extLst>
  </p:cSld>
  <p:clrMapOvr>
    <a:masterClrMapping/>
  </p:clrMapOvr>
  <p:transition>
    <p:fade/>
  </p:transition>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67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109845240"/>
      </p:ext>
    </p:extLst>
  </p:cSld>
  <p:clrMapOvr>
    <a:masterClrMapping/>
  </p:clrMapOvr>
  <p:transition>
    <p:fade/>
  </p:transition>
  <p:hf hdr="0"/>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1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1205871"/>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6943046"/>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664727"/>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8257895"/>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09506120"/>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CFBEA57F-793F-4683-BD8A-741FD4B89154}" type="datetime1">
              <a:rPr lang="en-US" smtClean="0"/>
              <a:t>6/10/21</a:t>
            </a:fld>
            <a:endParaRPr lang="en-US" dirty="0"/>
          </a:p>
        </p:txBody>
      </p:sp>
      <p:sp>
        <p:nvSpPr>
          <p:cNvPr id="7"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3502529037"/>
      </p:ext>
    </p:extLst>
  </p:cSld>
  <p:clrMapOvr>
    <a:masterClrMapping/>
  </p:clrMapOvr>
  <p:transition spd="slow">
    <p:fade/>
  </p:transition>
  <p:hf hdr="0"/>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1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77188654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823330721"/>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5762891"/>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39516526"/>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54902100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4511501"/>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31184495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2080384886"/>
      </p:ext>
    </p:extLst>
  </p:cSld>
  <p:clrMapOvr>
    <a:masterClrMapping/>
  </p:clrMapOvr>
  <p:transition spd="med">
    <p:push/>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2411467745"/>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6828682"/>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CFBEA57F-793F-4683-BD8A-741FD4B89154}" type="datetime1">
              <a:rPr lang="en-US" smtClean="0"/>
              <a:t>6/10/21</a:t>
            </a:fld>
            <a:endParaRPr lang="en-US" dirty="0"/>
          </a:p>
        </p:txBody>
      </p:sp>
      <p:sp>
        <p:nvSpPr>
          <p:cNvPr id="11"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dirty="0"/>
          </a:p>
        </p:txBody>
      </p:sp>
      <p:sp>
        <p:nvSpPr>
          <p:cNvPr id="12"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696509121"/>
      </p:ext>
    </p:extLst>
  </p:cSld>
  <p:clrMapOvr>
    <a:masterClrMapping/>
  </p:clrMapOvr>
  <p:transition spd="slow">
    <p:fade/>
  </p:transition>
  <p:hf hdr="0"/>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1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257483490"/>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1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549102526"/>
      </p:ext>
    </p:extLst>
  </p:cSld>
  <p:clrMapOvr>
    <a:masterClrMapping/>
  </p:clrMapOvr>
  <p:transition spd="slow">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97977278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72113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42094"/>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1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352880622"/>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1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938588839"/>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5581430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60549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8347504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4400" y="2641164"/>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8796184"/>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066952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89790366"/>
      </p:ext>
    </p:extLst>
  </p:cSld>
  <p:clrMapOvr>
    <a:masterClrMapping/>
  </p:clrMapOvr>
  <p:transition spd="slow">
    <p:push/>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59B4D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95169305"/>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828013"/>
      </p:ext>
    </p:extLst>
  </p:cSld>
  <p:clrMapOvr>
    <a:masterClrMapping/>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299229"/>
      </p:ext>
    </p:extLst>
  </p:cSld>
  <p:clrMapOvr>
    <a:masterClrMapping/>
  </p:clrMapOvr>
  <p:transition spd="med">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6638539"/>
      </p:ext>
    </p:extLst>
  </p:cSld>
  <p:clrMapOvr>
    <a:masterClrMapping/>
  </p:clrMapOvr>
  <p:transition spd="med">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4391271"/>
      </p:ext>
    </p:extLst>
  </p:cSld>
  <p:clrMapOvr>
    <a:masterClrMapping/>
  </p:clrMapOvr>
  <p:transition spd="med">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83956861"/>
      </p:ext>
    </p:extLst>
  </p:cSld>
  <p:clrMapOvr>
    <a:masterClrMapping/>
  </p:clrMapOvr>
  <p:transition spd="med">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64758186"/>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1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1298594959"/>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a:xfrm>
            <a:off x="609600" y="6356352"/>
            <a:ext cx="2844800" cy="365125"/>
          </a:xfrm>
          <a:prstGeom prst="rect">
            <a:avLst/>
          </a:prstGeom>
        </p:spPr>
        <p:txBody>
          <a:bodyPr/>
          <a:lstStyle>
            <a:lvl1pPr>
              <a:defRPr/>
            </a:lvl1pPr>
          </a:lstStyle>
          <a:p>
            <a:fld id="{FC6E85F7-A724-48A4-9D33-CEBC5174E865}" type="datetime1">
              <a:rPr lang="en-US" smtClean="0"/>
              <a:t>6/10/21</a:t>
            </a:fld>
            <a:endParaRPr lang="en-US"/>
          </a:p>
        </p:txBody>
      </p:sp>
      <p:sp>
        <p:nvSpPr>
          <p:cNvPr id="8" name="Footer Placeholder 5"/>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9" name="Slide Number Placeholder 6"/>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879434590"/>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10/0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685681"/>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2306214319"/>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10/0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636006574"/>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1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10972797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a:xfrm>
            <a:off x="609600" y="6356352"/>
            <a:ext cx="2844800" cy="365125"/>
          </a:xfrm>
          <a:prstGeom prst="rect">
            <a:avLst/>
          </a:prstGeom>
        </p:spPr>
        <p:txBody>
          <a:bodyPr/>
          <a:lstStyle>
            <a:lvl1pPr>
              <a:defRPr/>
            </a:lvl1pPr>
          </a:lstStyle>
          <a:p>
            <a:fld id="{42806E7A-BDD3-46A3-BEE2-EB821F9236B4}" type="datetime1">
              <a:rPr lang="en-US" smtClean="0"/>
              <a:t>6/10/21</a:t>
            </a:fld>
            <a:endParaRPr lang="en-US"/>
          </a:p>
        </p:txBody>
      </p:sp>
      <p:sp>
        <p:nvSpPr>
          <p:cNvPr id="10" name="Footer Placeholder 7"/>
          <p:cNvSpPr>
            <a:spLocks noGrp="1"/>
          </p:cNvSpPr>
          <p:nvPr>
            <p:ph type="ftr" sz="quarter" idx="11"/>
          </p:nvPr>
        </p:nvSpPr>
        <p:spPr>
          <a:xfrm>
            <a:off x="4165600" y="6356352"/>
            <a:ext cx="3860800" cy="365125"/>
          </a:xfrm>
          <a:prstGeom prst="rect">
            <a:avLst/>
          </a:prstGeom>
        </p:spPr>
        <p:txBody>
          <a:bodyPr/>
          <a:lstStyle>
            <a:lvl1pPr>
              <a:defRPr/>
            </a:lvl1pPr>
          </a:lstStyle>
          <a:p>
            <a:endParaRPr lang="en-US"/>
          </a:p>
        </p:txBody>
      </p:sp>
      <p:sp>
        <p:nvSpPr>
          <p:cNvPr id="11" name="Slide Number Placeholder 8"/>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598238787"/>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vl1pPr>
          </a:lstStyle>
          <a:p>
            <a:fld id="{CFBEA57F-793F-4683-BD8A-741FD4B89154}" type="datetime1">
              <a:rPr lang="en-US" smtClean="0"/>
              <a:t>6/10/21</a:t>
            </a:fld>
            <a:endParaRPr lang="en-US" dirty="0"/>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endParaRPr lang="en-US" dirty="0"/>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3393701850"/>
      </p:ext>
    </p:extLst>
  </p:cSld>
  <p:clrMapOvr>
    <a:masterClrMapping/>
  </p:clrMapOvr>
  <p:transition spd="slow">
    <p:fade/>
  </p:transition>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3.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5.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406567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Lst>
  <p:transition spd="slow">
    <p:fade/>
  </p:transition>
  <p:hf hdr="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44186817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1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53302195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1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100368355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1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20069981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customXml" Target="../ink/ink1.xml"/></Relationships>
</file>

<file path=ppt/slides/_rels/slide11.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hyperlink" Target="https://www.linkedin.com/in/silviuniculita/" TargetMode="Externa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hyperlink" Target="https://docs.microsoft.com/en-us/azure/architecture/patterns/queue-based-load-leveling" TargetMode="External"/><Relationship Id="rId3" Type="http://schemas.openxmlformats.org/officeDocument/2006/relationships/hyperlink" Target="https://docs.microsoft.com/en-us/azure/architecture/patterns/choreography" TargetMode="External"/><Relationship Id="rId7" Type="http://schemas.openxmlformats.org/officeDocument/2006/relationships/hyperlink" Target="https://docs.microsoft.com/en-us/azure/architecture/patterns/publisher-subscriber" TargetMode="External"/><Relationship Id="rId2" Type="http://schemas.openxmlformats.org/officeDocument/2006/relationships/hyperlink" Target="https://docs.microsoft.com/en-us/azure/architecture/patterns/claim-check" TargetMode="External"/><Relationship Id="rId1" Type="http://schemas.openxmlformats.org/officeDocument/2006/relationships/slideLayout" Target="../slideLayouts/slideLayout3.xml"/><Relationship Id="rId6" Type="http://schemas.openxmlformats.org/officeDocument/2006/relationships/hyperlink" Target="https://docs.microsoft.com/en-us/azure/architecture/patterns/priority-queue" TargetMode="External"/><Relationship Id="rId5" Type="http://schemas.openxmlformats.org/officeDocument/2006/relationships/hyperlink" Target="https://docs.microsoft.com/en-us/azure/architecture/patterns/pipes-and-filters" TargetMode="External"/><Relationship Id="rId10" Type="http://schemas.openxmlformats.org/officeDocument/2006/relationships/hyperlink" Target="https://docs.microsoft.com/en-us/azure/architecture/patterns/sequential-convoy" TargetMode="External"/><Relationship Id="rId4" Type="http://schemas.openxmlformats.org/officeDocument/2006/relationships/hyperlink" Target="https://docs.microsoft.com/en-us/azure/architecture/patterns/competing-consumers" TargetMode="External"/><Relationship Id="rId9" Type="http://schemas.openxmlformats.org/officeDocument/2006/relationships/hyperlink" Target="https://docs.microsoft.com/en-us/azure/architecture/patterns/scheduler-agent-supervisor"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2.tif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59.tiff"/><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61.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908EC-571D-413C-93D2-867C7B5B3329}"/>
              </a:ext>
            </a:extLst>
          </p:cNvPr>
          <p:cNvSpPr>
            <a:spLocks noGrp="1"/>
          </p:cNvSpPr>
          <p:nvPr>
            <p:ph type="ctrTitle"/>
          </p:nvPr>
        </p:nvSpPr>
        <p:spPr>
          <a:xfrm>
            <a:off x="1016000" y="1168107"/>
            <a:ext cx="10363200" cy="983422"/>
          </a:xfrm>
        </p:spPr>
        <p:txBody>
          <a:bodyPr wrap="square" anchor="ctr">
            <a:normAutofit fontScale="90000"/>
          </a:bodyPr>
          <a:lstStyle/>
          <a:p>
            <a:r>
              <a:rPr lang="en-IN" sz="6700" dirty="0"/>
              <a:t>Global Architect Summit</a:t>
            </a:r>
            <a:br>
              <a:rPr lang="en-IN" dirty="0"/>
            </a:br>
            <a:endParaRPr lang="en-IN" dirty="0"/>
          </a:p>
        </p:txBody>
      </p:sp>
      <p:sp>
        <p:nvSpPr>
          <p:cNvPr id="3" name="Subtitle 2">
            <a:extLst>
              <a:ext uri="{FF2B5EF4-FFF2-40B4-BE49-F238E27FC236}">
                <a16:creationId xmlns:a16="http://schemas.microsoft.com/office/drawing/2014/main" id="{6B971BC8-A504-4594-93B9-1CCE0062B00E}"/>
              </a:ext>
            </a:extLst>
          </p:cNvPr>
          <p:cNvSpPr>
            <a:spLocks noGrp="1"/>
          </p:cNvSpPr>
          <p:nvPr>
            <p:ph type="subTitle" idx="1"/>
          </p:nvPr>
        </p:nvSpPr>
        <p:spPr>
          <a:xfrm>
            <a:off x="5135894" y="4782481"/>
            <a:ext cx="6016788" cy="533400"/>
          </a:xfrm>
        </p:spPr>
        <p:txBody>
          <a:bodyPr wrap="square" anchor="ctr">
            <a:normAutofit lnSpcReduction="10000"/>
          </a:bodyPr>
          <a:lstStyle/>
          <a:p>
            <a:r>
              <a:rPr lang="en-IN" sz="3200" dirty="0"/>
              <a:t> Design Your Azure Application</a:t>
            </a:r>
            <a:endParaRPr lang="en-IN" dirty="0"/>
          </a:p>
        </p:txBody>
      </p:sp>
      <p:sp>
        <p:nvSpPr>
          <p:cNvPr id="4" name="Subtitle 2">
            <a:extLst>
              <a:ext uri="{FF2B5EF4-FFF2-40B4-BE49-F238E27FC236}">
                <a16:creationId xmlns:a16="http://schemas.microsoft.com/office/drawing/2014/main" id="{C91989C2-F1BE-2F47-89A2-04E900C6E686}"/>
              </a:ext>
            </a:extLst>
          </p:cNvPr>
          <p:cNvSpPr txBox="1">
            <a:spLocks/>
          </p:cNvSpPr>
          <p:nvPr/>
        </p:nvSpPr>
        <p:spPr bwMode="auto">
          <a:xfrm>
            <a:off x="620670" y="4782481"/>
            <a:ext cx="4094765" cy="533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lnSpcReduction="10000"/>
          </a:bodyPr>
          <a:lstStyle>
            <a:lvl1pPr marL="0" indent="0" algn="l" rtl="0" eaLnBrk="1" fontAlgn="base" hangingPunct="1">
              <a:spcBef>
                <a:spcPct val="20000"/>
              </a:spcBef>
              <a:spcAft>
                <a:spcPct val="0"/>
              </a:spcAft>
              <a:buFont typeface="Arial" charset="0"/>
              <a:buNone/>
              <a:defRPr sz="2000" kern="1200">
                <a:solidFill>
                  <a:schemeClr val="tx1">
                    <a:lumMod val="85000"/>
                    <a:lumOff val="15000"/>
                  </a:schemeClr>
                </a:solidFill>
                <a:latin typeface="Segoe UI" pitchFamily="34" charset="0"/>
                <a:ea typeface="Segoe UI" pitchFamily="34" charset="0"/>
                <a:cs typeface="Segoe UI" pitchFamily="34" charset="0"/>
              </a:defRPr>
            </a:lvl1pPr>
            <a:lvl2pPr marL="457112" indent="0" algn="ctr" rtl="0" eaLnBrk="1" fontAlgn="base" hangingPunct="1">
              <a:spcBef>
                <a:spcPct val="20000"/>
              </a:spcBef>
              <a:spcAft>
                <a:spcPct val="0"/>
              </a:spcAft>
              <a:buFont typeface="Arial" charset="0"/>
              <a:buNone/>
              <a:defRPr sz="2400" kern="1200">
                <a:solidFill>
                  <a:schemeClr val="tx1">
                    <a:tint val="75000"/>
                  </a:schemeClr>
                </a:solidFill>
                <a:latin typeface="+mn-lt"/>
                <a:ea typeface="+mn-ea"/>
                <a:cs typeface="+mn-cs"/>
              </a:defRPr>
            </a:lvl2pPr>
            <a:lvl3pPr marL="914225" indent="0" algn="ctr" rtl="0" eaLnBrk="1" fontAlgn="base" hangingPunct="1">
              <a:spcBef>
                <a:spcPct val="20000"/>
              </a:spcBef>
              <a:spcAft>
                <a:spcPct val="0"/>
              </a:spcAft>
              <a:buFont typeface="Arial" charset="0"/>
              <a:buNone/>
              <a:defRPr sz="2000" kern="1200">
                <a:solidFill>
                  <a:schemeClr val="tx1">
                    <a:tint val="75000"/>
                  </a:schemeClr>
                </a:solidFill>
                <a:latin typeface="+mn-lt"/>
                <a:ea typeface="+mn-ea"/>
                <a:cs typeface="+mn-cs"/>
              </a:defRPr>
            </a:lvl3pPr>
            <a:lvl4pPr marL="1371337" indent="0" algn="ctr" rtl="0" eaLnBrk="1" fontAlgn="base" hangingPunct="1">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449" indent="0" algn="ctr" rtl="0" eaLnBrk="1" fontAlgn="base" hangingPunct="1">
              <a:spcBef>
                <a:spcPct val="20000"/>
              </a:spcBef>
              <a:spcAft>
                <a:spcPct val="0"/>
              </a:spcAft>
              <a:buFont typeface="Arial" charset="0"/>
              <a:buNone/>
              <a:defRPr sz="2000" kern="1200">
                <a:solidFill>
                  <a:schemeClr val="tx1">
                    <a:tint val="75000"/>
                  </a:schemeClr>
                </a:solidFill>
                <a:latin typeface="+mn-lt"/>
                <a:ea typeface="+mn-ea"/>
                <a:cs typeface="+mn-cs"/>
              </a:defRPr>
            </a:lvl5pPr>
            <a:lvl6pPr marL="2285561" indent="0" algn="ctr" defTabSz="914225"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674" indent="0" algn="ctr" defTabSz="914225"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785" indent="0" algn="ctr" defTabSz="914225"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897" indent="0" algn="ctr" defTabSz="914225"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IN" sz="3200" dirty="0"/>
              <a:t> </a:t>
            </a:r>
            <a:r>
              <a:rPr lang="en-IN" sz="3500" dirty="0"/>
              <a:t>Session 04</a:t>
            </a:r>
            <a:endParaRPr lang="en-IN" dirty="0"/>
          </a:p>
        </p:txBody>
      </p:sp>
      <p:pic>
        <p:nvPicPr>
          <p:cNvPr id="5" name="Picture 2">
            <a:extLst>
              <a:ext uri="{FF2B5EF4-FFF2-40B4-BE49-F238E27FC236}">
                <a16:creationId xmlns:a16="http://schemas.microsoft.com/office/drawing/2014/main" id="{B84602EF-FA0A-E74D-A5AE-5B6E6A421D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4491768"/>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C6DF4-6ACF-48A1-88A5-4524ECEC51FB}"/>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Horizontal Scaling</a:t>
            </a:r>
            <a:endParaRPr lang="en-US" dirty="0">
              <a:latin typeface="SegoeUI"/>
            </a:endParaRPr>
          </a:p>
        </p:txBody>
      </p:sp>
      <p:pic>
        <p:nvPicPr>
          <p:cNvPr id="1026" name="Picture 2" descr="Autoscale explained. Add and remove VMs">
            <a:extLst>
              <a:ext uri="{FF2B5EF4-FFF2-40B4-BE49-F238E27FC236}">
                <a16:creationId xmlns:a16="http://schemas.microsoft.com/office/drawing/2014/main" id="{142B1C2A-61B1-40F0-81F0-7FD34BD12FE3}"/>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609600" y="2410460"/>
            <a:ext cx="11176000" cy="3408680"/>
          </a:xfrm>
          <a:prstGeom prst="rect">
            <a:avLst/>
          </a:prstGeom>
          <a:solidFill>
            <a:srgbClr val="FFFFFF"/>
          </a:solidFill>
        </p:spPr>
      </p:pic>
      <p:sp>
        <p:nvSpPr>
          <p:cNvPr id="6" name="Slide Number Placeholder 5" hidden="1">
            <a:extLst>
              <a:ext uri="{FF2B5EF4-FFF2-40B4-BE49-F238E27FC236}">
                <a16:creationId xmlns:a16="http://schemas.microsoft.com/office/drawing/2014/main" id="{81F51513-1808-428D-890F-CDB0F914C66B}"/>
              </a:ext>
            </a:extLst>
          </p:cNvPr>
          <p:cNvSpPr>
            <a:spLocks noGrp="1"/>
          </p:cNvSpPr>
          <p:nvPr>
            <p:ph type="sldNum" sz="quarter" idx="4294967295"/>
          </p:nvPr>
        </p:nvSpPr>
        <p:spPr>
          <a:xfrm>
            <a:off x="9347200" y="6356350"/>
            <a:ext cx="2844800" cy="365125"/>
          </a:xfrm>
          <a:prstGeom prst="rect">
            <a:avLst/>
          </a:prstGeom>
        </p:spPr>
        <p:txBody>
          <a:bodyPr vert="horz" lIns="91440" tIns="45720" rIns="91440" bIns="45720" rtlCol="0" anchor="ctr">
            <a:normAutofit lnSpcReduction="10000"/>
          </a:bodyPr>
          <a:lstStyle/>
          <a:p>
            <a:pPr>
              <a:spcAft>
                <a:spcPts val="600"/>
              </a:spcAft>
            </a:pPr>
            <a:fld id="{81D2C36F-4504-47C0-B82F-A167342A2754}" type="slidenum">
              <a:rPr lang="en-US" smtClean="0"/>
              <a:pPr>
                <a:spcAft>
                  <a:spcPts val="600"/>
                </a:spcAft>
              </a:pPr>
              <a:t>10</a:t>
            </a:fld>
            <a:endParaRPr lang="en-US"/>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44EB4CF5-263D-CC44-80A8-412A3FC9A72C}"/>
                  </a:ext>
                </a:extLst>
              </p14:cNvPr>
              <p14:cNvContentPartPr/>
              <p14:nvPr/>
            </p14:nvContentPartPr>
            <p14:xfrm>
              <a:off x="2807280" y="2939400"/>
              <a:ext cx="8397000" cy="2055600"/>
            </p14:xfrm>
          </p:contentPart>
        </mc:Choice>
        <mc:Fallback>
          <p:pic>
            <p:nvPicPr>
              <p:cNvPr id="3" name="Ink 2">
                <a:extLst>
                  <a:ext uri="{FF2B5EF4-FFF2-40B4-BE49-F238E27FC236}">
                    <a16:creationId xmlns:a16="http://schemas.microsoft.com/office/drawing/2014/main" id="{44EB4CF5-263D-CC44-80A8-412A3FC9A72C}"/>
                  </a:ext>
                </a:extLst>
              </p:cNvPr>
              <p:cNvPicPr/>
              <p:nvPr/>
            </p:nvPicPr>
            <p:blipFill>
              <a:blip r:embed="rId5"/>
              <a:stretch>
                <a:fillRect/>
              </a:stretch>
            </p:blipFill>
            <p:spPr>
              <a:xfrm>
                <a:off x="2797920" y="2930040"/>
                <a:ext cx="8415720" cy="2074320"/>
              </a:xfrm>
              <a:prstGeom prst="rect">
                <a:avLst/>
              </a:prstGeom>
            </p:spPr>
          </p:pic>
        </mc:Fallback>
      </mc:AlternateContent>
    </p:spTree>
    <p:extLst>
      <p:ext uri="{BB962C8B-B14F-4D97-AF65-F5344CB8AC3E}">
        <p14:creationId xmlns:p14="http://schemas.microsoft.com/office/powerpoint/2010/main" val="3277229386"/>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9D312-29FD-4D2F-A002-B9C6FB196F27}"/>
              </a:ext>
            </a:extLst>
          </p:cNvPr>
          <p:cNvSpPr>
            <a:spLocks noGrp="1"/>
          </p:cNvSpPr>
          <p:nvPr>
            <p:ph type="title"/>
          </p:nvPr>
        </p:nvSpPr>
        <p:spPr/>
        <p:txBody>
          <a:bodyPr>
            <a:normAutofit/>
          </a:bodyPr>
          <a:lstStyle/>
          <a:p>
            <a:r>
              <a:rPr lang="en-IN" dirty="0">
                <a:latin typeface="SegoeUI"/>
              </a:rPr>
              <a:t>V</a:t>
            </a:r>
            <a:r>
              <a:rPr lang="en-IN" b="0" i="0" u="none" strike="noStrike" baseline="0" dirty="0">
                <a:latin typeface="SegoeUI"/>
              </a:rPr>
              <a:t>ertical Scaling</a:t>
            </a:r>
            <a:endParaRPr lang="en-IN" sz="16600" dirty="0"/>
          </a:p>
        </p:txBody>
      </p:sp>
      <p:sp>
        <p:nvSpPr>
          <p:cNvPr id="3" name="Content Placeholder 2">
            <a:extLst>
              <a:ext uri="{FF2B5EF4-FFF2-40B4-BE49-F238E27FC236}">
                <a16:creationId xmlns:a16="http://schemas.microsoft.com/office/drawing/2014/main" id="{CF795590-CDD1-4938-B314-F61DF95D77B0}"/>
              </a:ext>
            </a:extLst>
          </p:cNvPr>
          <p:cNvSpPr>
            <a:spLocks noGrp="1"/>
          </p:cNvSpPr>
          <p:nvPr>
            <p:ph idx="1"/>
          </p:nvPr>
        </p:nvSpPr>
        <p:spPr/>
        <p:txBody>
          <a:bodyPr>
            <a:normAutofit/>
          </a:bodyPr>
          <a:lstStyle/>
          <a:p>
            <a:pPr algn="l"/>
            <a:r>
              <a:rPr lang="en-IN" sz="2800" b="0" i="0" u="none" strike="noStrike" baseline="0" dirty="0">
                <a:solidFill>
                  <a:schemeClr val="tx1"/>
                </a:solidFill>
                <a:latin typeface="SegoeUI"/>
              </a:rPr>
              <a:t>An advantage of vertical scaling is that you can do it without making any changes to the application. </a:t>
            </a:r>
          </a:p>
          <a:p>
            <a:pPr algn="l"/>
            <a:r>
              <a:rPr lang="en-IN" sz="2800" b="0" i="0" u="none" strike="noStrike" baseline="0" dirty="0">
                <a:solidFill>
                  <a:schemeClr val="tx1"/>
                </a:solidFill>
                <a:latin typeface="SegoeUI"/>
              </a:rPr>
              <a:t>But at some point you will hit a limit, where you can’t scale up any longer. </a:t>
            </a:r>
            <a:endParaRPr lang="en-IN" sz="1800" dirty="0">
              <a:solidFill>
                <a:schemeClr val="tx1"/>
              </a:solidFill>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B5379AC-D6AF-B94F-97E5-0A8AF43CC95A}"/>
                  </a:ext>
                </a:extLst>
              </p14:cNvPr>
              <p14:cNvContentPartPr/>
              <p14:nvPr/>
            </p14:nvContentPartPr>
            <p14:xfrm>
              <a:off x="2565720" y="5461920"/>
              <a:ext cx="360" cy="360"/>
            </p14:xfrm>
          </p:contentPart>
        </mc:Choice>
        <mc:Fallback>
          <p:pic>
            <p:nvPicPr>
              <p:cNvPr id="4" name="Ink 3">
                <a:extLst>
                  <a:ext uri="{FF2B5EF4-FFF2-40B4-BE49-F238E27FC236}">
                    <a16:creationId xmlns:a16="http://schemas.microsoft.com/office/drawing/2014/main" id="{7B5379AC-D6AF-B94F-97E5-0A8AF43CC95A}"/>
                  </a:ext>
                </a:extLst>
              </p:cNvPr>
              <p:cNvPicPr/>
              <p:nvPr/>
            </p:nvPicPr>
            <p:blipFill>
              <a:blip r:embed="rId4"/>
              <a:stretch>
                <a:fillRect/>
              </a:stretch>
            </p:blipFill>
            <p:spPr>
              <a:xfrm>
                <a:off x="2556360" y="5452560"/>
                <a:ext cx="19080" cy="19080"/>
              </a:xfrm>
              <a:prstGeom prst="rect">
                <a:avLst/>
              </a:prstGeom>
            </p:spPr>
          </p:pic>
        </mc:Fallback>
      </mc:AlternateContent>
    </p:spTree>
    <p:extLst>
      <p:ext uri="{BB962C8B-B14F-4D97-AF65-F5344CB8AC3E}">
        <p14:creationId xmlns:p14="http://schemas.microsoft.com/office/powerpoint/2010/main" val="2663419182"/>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F38CC-29F6-4E5C-B949-A3E4DA09C1FE}"/>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Vertical Scaling</a:t>
            </a:r>
          </a:p>
        </p:txBody>
      </p:sp>
      <p:pic>
        <p:nvPicPr>
          <p:cNvPr id="10" name="Content Placeholder 9">
            <a:extLst>
              <a:ext uri="{FF2B5EF4-FFF2-40B4-BE49-F238E27FC236}">
                <a16:creationId xmlns:a16="http://schemas.microsoft.com/office/drawing/2014/main" id="{3693DE9D-E21E-496E-8B6F-85426E01D859}"/>
              </a:ext>
            </a:extLst>
          </p:cNvPr>
          <p:cNvPicPr>
            <a:picLocks noGrp="1" noChangeAspect="1"/>
          </p:cNvPicPr>
          <p:nvPr>
            <p:ph idx="1"/>
          </p:nvPr>
        </p:nvPicPr>
        <p:blipFill>
          <a:blip r:embed="rId3"/>
          <a:stretch>
            <a:fillRect/>
          </a:stretch>
        </p:blipFill>
        <p:spPr>
          <a:xfrm>
            <a:off x="609600" y="2131060"/>
            <a:ext cx="11176000" cy="3967480"/>
          </a:xfrm>
          <a:prstGeom prst="rect">
            <a:avLst/>
          </a:prstGeom>
          <a:noFill/>
        </p:spPr>
      </p:pic>
      <p:sp>
        <p:nvSpPr>
          <p:cNvPr id="6" name="Slide Number Placeholder 5" hidden="1">
            <a:extLst>
              <a:ext uri="{FF2B5EF4-FFF2-40B4-BE49-F238E27FC236}">
                <a16:creationId xmlns:a16="http://schemas.microsoft.com/office/drawing/2014/main" id="{3FBA863F-EF7D-41D2-B616-B22D9FF89D99}"/>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2</a:t>
            </a:fld>
            <a:endParaRPr lang="en-US"/>
          </a:p>
        </p:txBody>
      </p:sp>
    </p:spTree>
    <p:extLst>
      <p:ext uri="{BB962C8B-B14F-4D97-AF65-F5344CB8AC3E}">
        <p14:creationId xmlns:p14="http://schemas.microsoft.com/office/powerpoint/2010/main" val="2816419751"/>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3E23D-40BA-42E4-BA99-9DA1BE969ED2}"/>
              </a:ext>
            </a:extLst>
          </p:cNvPr>
          <p:cNvSpPr>
            <a:spLocks noGrp="1"/>
          </p:cNvSpPr>
          <p:nvPr>
            <p:ph type="title"/>
          </p:nvPr>
        </p:nvSpPr>
        <p:spPr/>
        <p:txBody>
          <a:bodyPr/>
          <a:lstStyle/>
          <a:p>
            <a:r>
              <a:rPr lang="en-IN" dirty="0"/>
              <a:t>Design for High Availability</a:t>
            </a:r>
          </a:p>
        </p:txBody>
      </p:sp>
    </p:spTree>
    <p:extLst>
      <p:ext uri="{BB962C8B-B14F-4D97-AF65-F5344CB8AC3E}">
        <p14:creationId xmlns:p14="http://schemas.microsoft.com/office/powerpoint/2010/main" val="268612612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8520F-3338-4E3E-B965-9CCC0CAE1B98}"/>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latin typeface="SegoeUI"/>
              </a:rPr>
              <a:t>High Availability</a:t>
            </a:r>
            <a:endParaRPr lang="en-IN" dirty="0">
              <a:latin typeface="SegoeUI"/>
            </a:endParaRPr>
          </a:p>
        </p:txBody>
      </p:sp>
      <p:graphicFrame>
        <p:nvGraphicFramePr>
          <p:cNvPr id="8" name="Content Placeholder 2">
            <a:extLst>
              <a:ext uri="{FF2B5EF4-FFF2-40B4-BE49-F238E27FC236}">
                <a16:creationId xmlns:a16="http://schemas.microsoft.com/office/drawing/2014/main" id="{64BD58F2-52DF-4C43-8E92-1B77580E6301}"/>
              </a:ext>
            </a:extLst>
          </p:cNvPr>
          <p:cNvGraphicFramePr>
            <a:graphicFrameLocks noGrp="1"/>
          </p:cNvGraphicFramePr>
          <p:nvPr>
            <p:ph idx="1"/>
            <p:extLst>
              <p:ext uri="{D42A27DB-BD31-4B8C-83A1-F6EECF244321}">
                <p14:modId xmlns:p14="http://schemas.microsoft.com/office/powerpoint/2010/main" val="1823287912"/>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hidden="1">
            <a:extLst>
              <a:ext uri="{FF2B5EF4-FFF2-40B4-BE49-F238E27FC236}">
                <a16:creationId xmlns:a16="http://schemas.microsoft.com/office/drawing/2014/main" id="{FC1CF3D6-AFC1-4127-BB24-B50ADC8F78DB}"/>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4</a:t>
            </a:fld>
            <a:endParaRPr lang="en-US"/>
          </a:p>
        </p:txBody>
      </p:sp>
    </p:spTree>
    <p:extLst>
      <p:ext uri="{BB962C8B-B14F-4D97-AF65-F5344CB8AC3E}">
        <p14:creationId xmlns:p14="http://schemas.microsoft.com/office/powerpoint/2010/main" val="393317927"/>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2392D-9450-453F-9826-C1A80E4826FA}"/>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HA Multi-Region Web Application</a:t>
            </a:r>
          </a:p>
        </p:txBody>
      </p:sp>
      <p:pic>
        <p:nvPicPr>
          <p:cNvPr id="7" name="Content Placeholder 6">
            <a:extLst>
              <a:ext uri="{FF2B5EF4-FFF2-40B4-BE49-F238E27FC236}">
                <a16:creationId xmlns:a16="http://schemas.microsoft.com/office/drawing/2014/main" id="{7CE664CE-EF05-4F52-A1F8-A1F996C4891D}"/>
              </a:ext>
            </a:extLst>
          </p:cNvPr>
          <p:cNvPicPr>
            <a:picLocks noGrp="1" noChangeAspect="1"/>
          </p:cNvPicPr>
          <p:nvPr>
            <p:ph idx="1"/>
          </p:nvPr>
        </p:nvPicPr>
        <p:blipFill>
          <a:blip r:embed="rId3"/>
          <a:stretch>
            <a:fillRect/>
          </a:stretch>
        </p:blipFill>
        <p:spPr>
          <a:xfrm>
            <a:off x="922216" y="1371600"/>
            <a:ext cx="10550767" cy="5486400"/>
          </a:xfrm>
          <a:prstGeom prst="rect">
            <a:avLst/>
          </a:prstGeom>
          <a:noFill/>
        </p:spPr>
      </p:pic>
      <p:sp>
        <p:nvSpPr>
          <p:cNvPr id="6" name="Slide Number Placeholder 5" hidden="1">
            <a:extLst>
              <a:ext uri="{FF2B5EF4-FFF2-40B4-BE49-F238E27FC236}">
                <a16:creationId xmlns:a16="http://schemas.microsoft.com/office/drawing/2014/main" id="{0EAB3764-E059-4CAC-A982-8CE487A2BF13}"/>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5</a:t>
            </a:fld>
            <a:endParaRPr lang="en-US"/>
          </a:p>
        </p:txBody>
      </p:sp>
    </p:spTree>
    <p:extLst>
      <p:ext uri="{BB962C8B-B14F-4D97-AF65-F5344CB8AC3E}">
        <p14:creationId xmlns:p14="http://schemas.microsoft.com/office/powerpoint/2010/main" val="1166516113"/>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95E0C-FCFE-4CB4-BA17-359CEBC97B0F}"/>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HA for Web Application with Relational Database</a:t>
            </a:r>
          </a:p>
        </p:txBody>
      </p:sp>
      <p:pic>
        <p:nvPicPr>
          <p:cNvPr id="7" name="Content Placeholder 6">
            <a:extLst>
              <a:ext uri="{FF2B5EF4-FFF2-40B4-BE49-F238E27FC236}">
                <a16:creationId xmlns:a16="http://schemas.microsoft.com/office/drawing/2014/main" id="{ACF6E35D-8A95-4131-8251-7DF4EE517328}"/>
              </a:ext>
            </a:extLst>
          </p:cNvPr>
          <p:cNvPicPr>
            <a:picLocks noGrp="1" noChangeAspect="1"/>
          </p:cNvPicPr>
          <p:nvPr>
            <p:ph idx="1"/>
          </p:nvPr>
        </p:nvPicPr>
        <p:blipFill>
          <a:blip r:embed="rId3"/>
          <a:stretch>
            <a:fillRect/>
          </a:stretch>
        </p:blipFill>
        <p:spPr>
          <a:xfrm>
            <a:off x="1894541" y="1371600"/>
            <a:ext cx="8606118" cy="5486400"/>
          </a:xfrm>
          <a:prstGeom prst="rect">
            <a:avLst/>
          </a:prstGeom>
          <a:noFill/>
        </p:spPr>
      </p:pic>
      <p:sp>
        <p:nvSpPr>
          <p:cNvPr id="6" name="Slide Number Placeholder 5" hidden="1">
            <a:extLst>
              <a:ext uri="{FF2B5EF4-FFF2-40B4-BE49-F238E27FC236}">
                <a16:creationId xmlns:a16="http://schemas.microsoft.com/office/drawing/2014/main" id="{9F366C79-AB4C-4D07-9A71-044C1F0F5F64}"/>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6</a:t>
            </a:fld>
            <a:endParaRPr lang="en-US"/>
          </a:p>
        </p:txBody>
      </p:sp>
    </p:spTree>
    <p:extLst>
      <p:ext uri="{BB962C8B-B14F-4D97-AF65-F5344CB8AC3E}">
        <p14:creationId xmlns:p14="http://schemas.microsoft.com/office/powerpoint/2010/main" val="680570315"/>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3D0C1-A260-4ECF-A383-FE549202F1B4}"/>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HA for Multi-Region N-tier application</a:t>
            </a:r>
          </a:p>
        </p:txBody>
      </p:sp>
      <p:pic>
        <p:nvPicPr>
          <p:cNvPr id="7" name="Content Placeholder 6">
            <a:extLst>
              <a:ext uri="{FF2B5EF4-FFF2-40B4-BE49-F238E27FC236}">
                <a16:creationId xmlns:a16="http://schemas.microsoft.com/office/drawing/2014/main" id="{1136F951-158C-4DFE-B32E-75EFE8637CBC}"/>
              </a:ext>
            </a:extLst>
          </p:cNvPr>
          <p:cNvPicPr>
            <a:picLocks noGrp="1" noChangeAspect="1"/>
          </p:cNvPicPr>
          <p:nvPr>
            <p:ph idx="1"/>
          </p:nvPr>
        </p:nvPicPr>
        <p:blipFill>
          <a:blip r:embed="rId3"/>
          <a:stretch>
            <a:fillRect/>
          </a:stretch>
        </p:blipFill>
        <p:spPr>
          <a:xfrm>
            <a:off x="2320285" y="1371600"/>
            <a:ext cx="7754630" cy="5486400"/>
          </a:xfrm>
          <a:prstGeom prst="rect">
            <a:avLst/>
          </a:prstGeom>
          <a:noFill/>
        </p:spPr>
      </p:pic>
      <p:sp>
        <p:nvSpPr>
          <p:cNvPr id="6" name="Slide Number Placeholder 5" hidden="1">
            <a:extLst>
              <a:ext uri="{FF2B5EF4-FFF2-40B4-BE49-F238E27FC236}">
                <a16:creationId xmlns:a16="http://schemas.microsoft.com/office/drawing/2014/main" id="{182E88EC-0136-4FA8-AFB3-4D10FD1510A9}"/>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7</a:t>
            </a:fld>
            <a:endParaRPr lang="en-US"/>
          </a:p>
        </p:txBody>
      </p:sp>
    </p:spTree>
    <p:extLst>
      <p:ext uri="{BB962C8B-B14F-4D97-AF65-F5344CB8AC3E}">
        <p14:creationId xmlns:p14="http://schemas.microsoft.com/office/powerpoint/2010/main" val="2463619749"/>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B488C-9D15-4879-B287-BA48204AB972}"/>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High Availability in Multi-Region Load Balancing</a:t>
            </a:r>
          </a:p>
        </p:txBody>
      </p:sp>
      <p:pic>
        <p:nvPicPr>
          <p:cNvPr id="11" name="Content Placeholder 10">
            <a:extLst>
              <a:ext uri="{FF2B5EF4-FFF2-40B4-BE49-F238E27FC236}">
                <a16:creationId xmlns:a16="http://schemas.microsoft.com/office/drawing/2014/main" id="{6DE5CA4F-8182-4836-851D-C734F9DB7F3B}"/>
              </a:ext>
            </a:extLst>
          </p:cNvPr>
          <p:cNvPicPr>
            <a:picLocks noGrp="1" noChangeAspect="1"/>
          </p:cNvPicPr>
          <p:nvPr>
            <p:ph idx="1"/>
          </p:nvPr>
        </p:nvPicPr>
        <p:blipFill>
          <a:blip r:embed="rId3"/>
          <a:stretch>
            <a:fillRect/>
          </a:stretch>
        </p:blipFill>
        <p:spPr>
          <a:xfrm>
            <a:off x="2846525" y="1207267"/>
            <a:ext cx="6194150" cy="5498332"/>
          </a:xfrm>
          <a:prstGeom prst="rect">
            <a:avLst/>
          </a:prstGeom>
          <a:noFill/>
        </p:spPr>
      </p:pic>
      <p:sp>
        <p:nvSpPr>
          <p:cNvPr id="10" name="AutoShape 2" descr="Multi-region load balancing with Application Gateway and Traffic Manager">
            <a:extLst>
              <a:ext uri="{FF2B5EF4-FFF2-40B4-BE49-F238E27FC236}">
                <a16:creationId xmlns:a16="http://schemas.microsoft.com/office/drawing/2014/main" id="{32259EC0-6769-4281-9166-DC76696B0CB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Slide Number Placeholder 5" hidden="1">
            <a:extLst>
              <a:ext uri="{FF2B5EF4-FFF2-40B4-BE49-F238E27FC236}">
                <a16:creationId xmlns:a16="http://schemas.microsoft.com/office/drawing/2014/main" id="{0AD1DD04-F63E-47E9-AB3D-AC2C96A1922D}"/>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18</a:t>
            </a:fld>
            <a:endParaRPr lang="en-US"/>
          </a:p>
        </p:txBody>
      </p:sp>
    </p:spTree>
    <p:extLst>
      <p:ext uri="{BB962C8B-B14F-4D97-AF65-F5344CB8AC3E}">
        <p14:creationId xmlns:p14="http://schemas.microsoft.com/office/powerpoint/2010/main" val="3206847867"/>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ADEC0-86F6-4DED-B1BC-4C6F7B57D0C6}"/>
              </a:ext>
            </a:extLst>
          </p:cNvPr>
          <p:cNvSpPr>
            <a:spLocks noGrp="1"/>
          </p:cNvSpPr>
          <p:nvPr>
            <p:ph type="title"/>
          </p:nvPr>
        </p:nvSpPr>
        <p:spPr/>
        <p:txBody>
          <a:bodyPr/>
          <a:lstStyle/>
          <a:p>
            <a:r>
              <a:rPr lang="en-IN" dirty="0"/>
              <a:t>Design for Resilience</a:t>
            </a:r>
          </a:p>
        </p:txBody>
      </p:sp>
    </p:spTree>
    <p:extLst>
      <p:ext uri="{BB962C8B-B14F-4D97-AF65-F5344CB8AC3E}">
        <p14:creationId xmlns:p14="http://schemas.microsoft.com/office/powerpoint/2010/main" val="2032021433"/>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1184C-9249-450B-B4A9-21EAA77FA0A4}"/>
              </a:ext>
            </a:extLst>
          </p:cNvPr>
          <p:cNvSpPr>
            <a:spLocks noGrp="1"/>
          </p:cNvSpPr>
          <p:nvPr>
            <p:ph type="title"/>
          </p:nvPr>
        </p:nvSpPr>
        <p:spPr/>
        <p:txBody>
          <a:bodyPr/>
          <a:lstStyle/>
          <a:p>
            <a:r>
              <a:rPr lang="en-IN" sz="3600" dirty="0">
                <a:latin typeface="Segoe UI" panose="020B0502040204020203" pitchFamily="34" charset="0"/>
              </a:rPr>
              <a:t>Objectives</a:t>
            </a:r>
          </a:p>
        </p:txBody>
      </p:sp>
      <p:graphicFrame>
        <p:nvGraphicFramePr>
          <p:cNvPr id="7" name="Content Placeholder 6">
            <a:extLst>
              <a:ext uri="{FF2B5EF4-FFF2-40B4-BE49-F238E27FC236}">
                <a16:creationId xmlns:a16="http://schemas.microsoft.com/office/drawing/2014/main" id="{2A7AE1AA-7E63-4ABD-AEA7-D3AE75695CFF}"/>
              </a:ext>
            </a:extLst>
          </p:cNvPr>
          <p:cNvGraphicFramePr>
            <a:graphicFrameLocks noGrp="1"/>
          </p:cNvGraphicFramePr>
          <p:nvPr>
            <p:ph idx="1"/>
            <p:extLst>
              <p:ext uri="{D42A27DB-BD31-4B8C-83A1-F6EECF244321}">
                <p14:modId xmlns:p14="http://schemas.microsoft.com/office/powerpoint/2010/main" val="1698472558"/>
              </p:ext>
            </p:extLst>
          </p:nvPr>
        </p:nvGraphicFramePr>
        <p:xfrm>
          <a:off x="609600" y="1081741"/>
          <a:ext cx="11176000" cy="5776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5532558"/>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DDEFA-769F-429C-B90E-3648B98FF2E5}"/>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Resiliency</a:t>
            </a:r>
          </a:p>
        </p:txBody>
      </p:sp>
      <p:graphicFrame>
        <p:nvGraphicFramePr>
          <p:cNvPr id="8" name="Content Placeholder 2">
            <a:extLst>
              <a:ext uri="{FF2B5EF4-FFF2-40B4-BE49-F238E27FC236}">
                <a16:creationId xmlns:a16="http://schemas.microsoft.com/office/drawing/2014/main" id="{7611C731-1388-4325-8A6E-2C77A093038C}"/>
              </a:ext>
            </a:extLst>
          </p:cNvPr>
          <p:cNvGraphicFramePr>
            <a:graphicFrameLocks noGrp="1"/>
          </p:cNvGraphicFramePr>
          <p:nvPr>
            <p:ph idx="1"/>
            <p:extLst>
              <p:ext uri="{D42A27DB-BD31-4B8C-83A1-F6EECF244321}">
                <p14:modId xmlns:p14="http://schemas.microsoft.com/office/powerpoint/2010/main" val="4090008709"/>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hidden="1">
            <a:extLst>
              <a:ext uri="{FF2B5EF4-FFF2-40B4-BE49-F238E27FC236}">
                <a16:creationId xmlns:a16="http://schemas.microsoft.com/office/drawing/2014/main" id="{9C2695B4-4EC3-45C3-8689-97D321F5E718}"/>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0</a:t>
            </a:fld>
            <a:endParaRPr lang="en-US"/>
          </a:p>
        </p:txBody>
      </p:sp>
    </p:spTree>
    <p:extLst>
      <p:ext uri="{BB962C8B-B14F-4D97-AF65-F5344CB8AC3E}">
        <p14:creationId xmlns:p14="http://schemas.microsoft.com/office/powerpoint/2010/main" val="2398241609"/>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E1BBD-9F47-49CD-AB64-3A559AA0A75A}"/>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Built-in Azure Resilience Services </a:t>
            </a:r>
          </a:p>
        </p:txBody>
      </p:sp>
      <p:pic>
        <p:nvPicPr>
          <p:cNvPr id="8" name="Content Placeholder 7">
            <a:extLst>
              <a:ext uri="{FF2B5EF4-FFF2-40B4-BE49-F238E27FC236}">
                <a16:creationId xmlns:a16="http://schemas.microsoft.com/office/drawing/2014/main" id="{050C3688-74B0-4FA8-9BF1-13148886F382}"/>
              </a:ext>
            </a:extLst>
          </p:cNvPr>
          <p:cNvPicPr>
            <a:picLocks noGrp="1" noChangeAspect="1"/>
          </p:cNvPicPr>
          <p:nvPr>
            <p:ph idx="1"/>
          </p:nvPr>
        </p:nvPicPr>
        <p:blipFill>
          <a:blip r:embed="rId3"/>
          <a:stretch>
            <a:fillRect/>
          </a:stretch>
        </p:blipFill>
        <p:spPr>
          <a:xfrm>
            <a:off x="1308847" y="1287930"/>
            <a:ext cx="9753600" cy="5486400"/>
          </a:xfrm>
          <a:noFill/>
        </p:spPr>
      </p:pic>
      <p:sp>
        <p:nvSpPr>
          <p:cNvPr id="6" name="Slide Number Placeholder 5" hidden="1">
            <a:extLst>
              <a:ext uri="{FF2B5EF4-FFF2-40B4-BE49-F238E27FC236}">
                <a16:creationId xmlns:a16="http://schemas.microsoft.com/office/drawing/2014/main" id="{DA4014F9-2B46-46BA-A880-B782643B230F}"/>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1</a:t>
            </a:fld>
            <a:endParaRPr lang="en-US"/>
          </a:p>
        </p:txBody>
      </p:sp>
    </p:spTree>
    <p:extLst>
      <p:ext uri="{BB962C8B-B14F-4D97-AF65-F5344CB8AC3E}">
        <p14:creationId xmlns:p14="http://schemas.microsoft.com/office/powerpoint/2010/main" val="3213466786"/>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E1BBD-9F47-49CD-AB64-3A559AA0A75A}"/>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Resiliency</a:t>
            </a:r>
          </a:p>
        </p:txBody>
      </p:sp>
      <p:sp>
        <p:nvSpPr>
          <p:cNvPr id="6" name="Slide Number Placeholder 5" hidden="1">
            <a:extLst>
              <a:ext uri="{FF2B5EF4-FFF2-40B4-BE49-F238E27FC236}">
                <a16:creationId xmlns:a16="http://schemas.microsoft.com/office/drawing/2014/main" id="{DA4014F9-2B46-46BA-A880-B782643B230F}"/>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2</a:t>
            </a:fld>
            <a:endParaRPr lang="en-US"/>
          </a:p>
        </p:txBody>
      </p:sp>
      <p:pic>
        <p:nvPicPr>
          <p:cNvPr id="8" name="Picture 7" descr="Diagram&#10;&#10;Description automatically generated">
            <a:extLst>
              <a:ext uri="{FF2B5EF4-FFF2-40B4-BE49-F238E27FC236}">
                <a16:creationId xmlns:a16="http://schemas.microsoft.com/office/drawing/2014/main" id="{2E203266-CA1A-4226-A511-F1D567708BEA}"/>
              </a:ext>
            </a:extLst>
          </p:cNvPr>
          <p:cNvPicPr>
            <a:picLocks noChangeAspect="1"/>
          </p:cNvPicPr>
          <p:nvPr/>
        </p:nvPicPr>
        <p:blipFill>
          <a:blip r:embed="rId3"/>
          <a:stretch>
            <a:fillRect/>
          </a:stretch>
        </p:blipFill>
        <p:spPr>
          <a:xfrm>
            <a:off x="3037680" y="1321306"/>
            <a:ext cx="5536694" cy="5536694"/>
          </a:xfrm>
          <a:prstGeom prst="rect">
            <a:avLst/>
          </a:prstGeom>
        </p:spPr>
      </p:pic>
    </p:spTree>
    <p:extLst>
      <p:ext uri="{BB962C8B-B14F-4D97-AF65-F5344CB8AC3E}">
        <p14:creationId xmlns:p14="http://schemas.microsoft.com/office/powerpoint/2010/main" val="4113922888"/>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BFBC4-DEFC-44A2-9D85-4B8B546A32FA}"/>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Typical Resilience Pattern for A 3 Tier Application</a:t>
            </a:r>
          </a:p>
        </p:txBody>
      </p:sp>
      <p:pic>
        <p:nvPicPr>
          <p:cNvPr id="8" name="Content Placeholder 7">
            <a:extLst>
              <a:ext uri="{FF2B5EF4-FFF2-40B4-BE49-F238E27FC236}">
                <a16:creationId xmlns:a16="http://schemas.microsoft.com/office/drawing/2014/main" id="{5ED94A5F-4F5B-4E39-9F2F-39E1B8CDA748}"/>
              </a:ext>
            </a:extLst>
          </p:cNvPr>
          <p:cNvPicPr>
            <a:picLocks noGrp="1" noChangeAspect="1"/>
          </p:cNvPicPr>
          <p:nvPr>
            <p:ph idx="1"/>
          </p:nvPr>
        </p:nvPicPr>
        <p:blipFill>
          <a:blip r:embed="rId3"/>
          <a:stretch>
            <a:fillRect/>
          </a:stretch>
        </p:blipFill>
        <p:spPr>
          <a:xfrm>
            <a:off x="1599303" y="1305859"/>
            <a:ext cx="9184640" cy="5486400"/>
          </a:xfrm>
          <a:noFill/>
        </p:spPr>
      </p:pic>
      <p:sp>
        <p:nvSpPr>
          <p:cNvPr id="6" name="Slide Number Placeholder 5" hidden="1">
            <a:extLst>
              <a:ext uri="{FF2B5EF4-FFF2-40B4-BE49-F238E27FC236}">
                <a16:creationId xmlns:a16="http://schemas.microsoft.com/office/drawing/2014/main" id="{FDADD5A1-93F1-40BB-A57A-3FB8146ACAE5}"/>
              </a:ext>
            </a:extLst>
          </p:cNvPr>
          <p:cNvSpPr>
            <a:spLocks noGrp="1"/>
          </p:cNvSpPr>
          <p:nvPr>
            <p:ph type="sldNum" sz="quarter" idx="4294967295"/>
          </p:nvPr>
        </p:nvSpPr>
        <p:spPr>
          <a:xfrm>
            <a:off x="9347200" y="6356350"/>
            <a:ext cx="2844800" cy="365125"/>
          </a:xfrm>
          <a:prstGeom prst="rect">
            <a:avLst/>
          </a:prstGeom>
        </p:spPr>
        <p:txBody>
          <a:bodyPr/>
          <a:lstStyle/>
          <a:p>
            <a:pPr>
              <a:spcAft>
                <a:spcPts val="600"/>
              </a:spcAft>
            </a:pPr>
            <a:fld id="{81D2C36F-4504-47C0-B82F-A167342A2754}" type="slidenum">
              <a:rPr lang="en-US" smtClean="0"/>
              <a:pPr>
                <a:spcAft>
                  <a:spcPts val="600"/>
                </a:spcAft>
              </a:pPr>
              <a:t>23</a:t>
            </a:fld>
            <a:endParaRPr lang="en-US"/>
          </a:p>
        </p:txBody>
      </p:sp>
    </p:spTree>
    <p:extLst>
      <p:ext uri="{BB962C8B-B14F-4D97-AF65-F5344CB8AC3E}">
        <p14:creationId xmlns:p14="http://schemas.microsoft.com/office/powerpoint/2010/main" val="3597100356"/>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84931-30F4-400F-BA8B-C2D0CD9D1AAC}"/>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Typical Resilience Pattern</a:t>
            </a:r>
          </a:p>
        </p:txBody>
      </p:sp>
      <p:pic>
        <p:nvPicPr>
          <p:cNvPr id="8" name="Content Placeholder 7">
            <a:extLst>
              <a:ext uri="{FF2B5EF4-FFF2-40B4-BE49-F238E27FC236}">
                <a16:creationId xmlns:a16="http://schemas.microsoft.com/office/drawing/2014/main" id="{F960B00D-E212-4C3B-AFE7-E859E80FA0C7}"/>
              </a:ext>
            </a:extLst>
          </p:cNvPr>
          <p:cNvPicPr>
            <a:picLocks noGrp="1" noChangeAspect="1"/>
          </p:cNvPicPr>
          <p:nvPr>
            <p:ph idx="1"/>
          </p:nvPr>
        </p:nvPicPr>
        <p:blipFill>
          <a:blip r:embed="rId3"/>
          <a:stretch>
            <a:fillRect/>
          </a:stretch>
        </p:blipFill>
        <p:spPr>
          <a:xfrm>
            <a:off x="999936" y="1219199"/>
            <a:ext cx="10192128" cy="5486400"/>
          </a:xfrm>
          <a:noFill/>
        </p:spPr>
      </p:pic>
      <p:sp>
        <p:nvSpPr>
          <p:cNvPr id="6" name="Slide Number Placeholder 5" hidden="1">
            <a:extLst>
              <a:ext uri="{FF2B5EF4-FFF2-40B4-BE49-F238E27FC236}">
                <a16:creationId xmlns:a16="http://schemas.microsoft.com/office/drawing/2014/main" id="{A76E93F0-18B2-45B5-98A0-F1C9D83E37A4}"/>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4</a:t>
            </a:fld>
            <a:endParaRPr lang="en-US"/>
          </a:p>
        </p:txBody>
      </p:sp>
    </p:spTree>
    <p:extLst>
      <p:ext uri="{BB962C8B-B14F-4D97-AF65-F5344CB8AC3E}">
        <p14:creationId xmlns:p14="http://schemas.microsoft.com/office/powerpoint/2010/main" val="2572929917"/>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A4F11-646F-465B-B8E5-D9DCE73E18C9}"/>
              </a:ext>
            </a:extLst>
          </p:cNvPr>
          <p:cNvSpPr>
            <a:spLocks noGrp="1"/>
          </p:cNvSpPr>
          <p:nvPr>
            <p:ph type="title"/>
          </p:nvPr>
        </p:nvSpPr>
        <p:spPr/>
        <p:txBody>
          <a:bodyPr/>
          <a:lstStyle/>
          <a:p>
            <a:r>
              <a:rPr lang="en-IN" dirty="0"/>
              <a:t>Design for Data</a:t>
            </a:r>
          </a:p>
        </p:txBody>
      </p:sp>
    </p:spTree>
    <p:extLst>
      <p:ext uri="{BB962C8B-B14F-4D97-AF65-F5344CB8AC3E}">
        <p14:creationId xmlns:p14="http://schemas.microsoft.com/office/powerpoint/2010/main" val="188968383"/>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1ECAA-18E7-4F92-B283-1CED3D436555}"/>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Traditional RDBMS Workloads</a:t>
            </a:r>
            <a:endParaRPr lang="en-US" dirty="0">
              <a:latin typeface="SegoeUI"/>
            </a:endParaRPr>
          </a:p>
        </p:txBody>
      </p:sp>
      <p:pic>
        <p:nvPicPr>
          <p:cNvPr id="11" name="Content Placeholder 10" descr="Graphical user interface, application, Teams&#10;&#10;Description automatically generated">
            <a:extLst>
              <a:ext uri="{FF2B5EF4-FFF2-40B4-BE49-F238E27FC236}">
                <a16:creationId xmlns:a16="http://schemas.microsoft.com/office/drawing/2014/main" id="{4B14CA0A-6303-43F3-B3AA-9A961F959ED5}"/>
              </a:ext>
            </a:extLst>
          </p:cNvPr>
          <p:cNvPicPr>
            <a:picLocks noGrp="1" noChangeAspect="1"/>
          </p:cNvPicPr>
          <p:nvPr>
            <p:ph idx="1"/>
          </p:nvPr>
        </p:nvPicPr>
        <p:blipFill>
          <a:blip r:embed="rId3"/>
          <a:stretch>
            <a:fillRect/>
          </a:stretch>
        </p:blipFill>
        <p:spPr>
          <a:xfrm>
            <a:off x="609600" y="1991360"/>
            <a:ext cx="11176000" cy="4246879"/>
          </a:xfrm>
          <a:prstGeom prst="rect">
            <a:avLst/>
          </a:prstGeom>
          <a:noFill/>
        </p:spPr>
      </p:pic>
      <p:sp>
        <p:nvSpPr>
          <p:cNvPr id="6" name="Slide Number Placeholder 5" hidden="1">
            <a:extLst>
              <a:ext uri="{FF2B5EF4-FFF2-40B4-BE49-F238E27FC236}">
                <a16:creationId xmlns:a16="http://schemas.microsoft.com/office/drawing/2014/main" id="{F6F67FDD-86AD-4FF3-ABDC-8648D2879E8F}"/>
              </a:ext>
            </a:extLst>
          </p:cNvPr>
          <p:cNvSpPr>
            <a:spLocks noGrp="1"/>
          </p:cNvSpPr>
          <p:nvPr>
            <p:ph type="sldNum" sz="quarter" idx="4294967295"/>
          </p:nvPr>
        </p:nvSpPr>
        <p:spPr>
          <a:xfrm>
            <a:off x="8737600" y="6356352"/>
            <a:ext cx="2844800" cy="365125"/>
          </a:xfrm>
          <a:prstGeom prst="rect">
            <a:avLst/>
          </a:prstGeom>
        </p:spPr>
        <p:txBody>
          <a:bodyPr vert="horz" lIns="91440" tIns="45720" rIns="91440" bIns="45720" rtlCol="0" anchor="ctr">
            <a:normAutofit/>
          </a:bodyPr>
          <a:lstStyle/>
          <a:p>
            <a:pPr>
              <a:lnSpc>
                <a:spcPct val="90000"/>
              </a:lnSpc>
              <a:spcAft>
                <a:spcPts val="600"/>
              </a:spcAft>
            </a:pPr>
            <a:fld id="{81D2C36F-4504-47C0-B82F-A167342A2754}" type="slidenum">
              <a:rPr lang="en-US" sz="300" smtClean="0"/>
              <a:pPr>
                <a:lnSpc>
                  <a:spcPct val="90000"/>
                </a:lnSpc>
                <a:spcAft>
                  <a:spcPts val="600"/>
                </a:spcAft>
              </a:pPr>
              <a:t>26</a:t>
            </a:fld>
            <a:endParaRPr lang="en-US" sz="300"/>
          </a:p>
        </p:txBody>
      </p:sp>
    </p:spTree>
    <p:extLst>
      <p:ext uri="{BB962C8B-B14F-4D97-AF65-F5344CB8AC3E}">
        <p14:creationId xmlns:p14="http://schemas.microsoft.com/office/powerpoint/2010/main" val="837023559"/>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1ECAA-18E7-4F92-B283-1CED3D436555}"/>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Big Data Solutions</a:t>
            </a:r>
          </a:p>
        </p:txBody>
      </p:sp>
      <p:pic>
        <p:nvPicPr>
          <p:cNvPr id="20" name="Content Placeholder 19">
            <a:extLst>
              <a:ext uri="{FF2B5EF4-FFF2-40B4-BE49-F238E27FC236}">
                <a16:creationId xmlns:a16="http://schemas.microsoft.com/office/drawing/2014/main" id="{D0D62FFD-E4E5-4964-9DD2-B3C38863948E}"/>
              </a:ext>
            </a:extLst>
          </p:cNvPr>
          <p:cNvPicPr>
            <a:picLocks noGrp="1" noChangeAspect="1"/>
          </p:cNvPicPr>
          <p:nvPr>
            <p:ph idx="1"/>
          </p:nvPr>
        </p:nvPicPr>
        <p:blipFill>
          <a:blip r:embed="rId3"/>
          <a:stretch>
            <a:fillRect/>
          </a:stretch>
        </p:blipFill>
        <p:spPr>
          <a:xfrm>
            <a:off x="1320799" y="1371600"/>
            <a:ext cx="9753601" cy="5486400"/>
          </a:xfrm>
          <a:noFill/>
        </p:spPr>
      </p:pic>
      <p:sp>
        <p:nvSpPr>
          <p:cNvPr id="6" name="Slide Number Placeholder 5" hidden="1">
            <a:extLst>
              <a:ext uri="{FF2B5EF4-FFF2-40B4-BE49-F238E27FC236}">
                <a16:creationId xmlns:a16="http://schemas.microsoft.com/office/drawing/2014/main" id="{F6F67FDD-86AD-4FF3-ABDC-8648D2879E8F}"/>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7</a:t>
            </a:fld>
            <a:endParaRPr lang="en-US"/>
          </a:p>
        </p:txBody>
      </p:sp>
    </p:spTree>
    <p:extLst>
      <p:ext uri="{BB962C8B-B14F-4D97-AF65-F5344CB8AC3E}">
        <p14:creationId xmlns:p14="http://schemas.microsoft.com/office/powerpoint/2010/main" val="2491171254"/>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14E1-1E00-4485-94E1-32CBC42378F2}"/>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Big Data Solutions</a:t>
            </a:r>
          </a:p>
        </p:txBody>
      </p:sp>
      <p:pic>
        <p:nvPicPr>
          <p:cNvPr id="7" name="Content Placeholder 6">
            <a:extLst>
              <a:ext uri="{FF2B5EF4-FFF2-40B4-BE49-F238E27FC236}">
                <a16:creationId xmlns:a16="http://schemas.microsoft.com/office/drawing/2014/main" id="{36DFA800-06B6-4D64-8F37-806D9E10D125}"/>
              </a:ext>
            </a:extLst>
          </p:cNvPr>
          <p:cNvPicPr>
            <a:picLocks noGrp="1" noChangeAspect="1"/>
          </p:cNvPicPr>
          <p:nvPr>
            <p:ph idx="1"/>
          </p:nvPr>
        </p:nvPicPr>
        <p:blipFill>
          <a:blip r:embed="rId3"/>
          <a:stretch>
            <a:fillRect/>
          </a:stretch>
        </p:blipFill>
        <p:spPr>
          <a:xfrm>
            <a:off x="612661" y="1219199"/>
            <a:ext cx="11139897" cy="5486400"/>
          </a:xfrm>
          <a:prstGeom prst="rect">
            <a:avLst/>
          </a:prstGeom>
          <a:noFill/>
        </p:spPr>
      </p:pic>
      <p:sp>
        <p:nvSpPr>
          <p:cNvPr id="6" name="Slide Number Placeholder 5" hidden="1">
            <a:extLst>
              <a:ext uri="{FF2B5EF4-FFF2-40B4-BE49-F238E27FC236}">
                <a16:creationId xmlns:a16="http://schemas.microsoft.com/office/drawing/2014/main" id="{B69D2EB0-3BE4-4793-8DF4-D24B433C3020}"/>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8</a:t>
            </a:fld>
            <a:endParaRPr lang="en-US"/>
          </a:p>
        </p:txBody>
      </p:sp>
    </p:spTree>
    <p:extLst>
      <p:ext uri="{BB962C8B-B14F-4D97-AF65-F5344CB8AC3E}">
        <p14:creationId xmlns:p14="http://schemas.microsoft.com/office/powerpoint/2010/main" val="831831723"/>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7113F-F0B6-4F71-B869-93A2D9CCCD38}"/>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Enterprise Data Warehouse Architecture</a:t>
            </a:r>
          </a:p>
        </p:txBody>
      </p:sp>
      <p:pic>
        <p:nvPicPr>
          <p:cNvPr id="7" name="Content Placeholder 6">
            <a:extLst>
              <a:ext uri="{FF2B5EF4-FFF2-40B4-BE49-F238E27FC236}">
                <a16:creationId xmlns:a16="http://schemas.microsoft.com/office/drawing/2014/main" id="{6D91A246-A1CA-41F2-AB0E-99274B2AB637}"/>
              </a:ext>
            </a:extLst>
          </p:cNvPr>
          <p:cNvPicPr>
            <a:picLocks noGrp="1" noChangeAspect="1"/>
          </p:cNvPicPr>
          <p:nvPr>
            <p:ph idx="1"/>
          </p:nvPr>
        </p:nvPicPr>
        <p:blipFill>
          <a:blip r:embed="rId3"/>
          <a:stretch>
            <a:fillRect/>
          </a:stretch>
        </p:blipFill>
        <p:spPr>
          <a:xfrm>
            <a:off x="347272" y="1426128"/>
            <a:ext cx="11176000" cy="4777738"/>
          </a:xfrm>
          <a:prstGeom prst="rect">
            <a:avLst/>
          </a:prstGeom>
          <a:noFill/>
        </p:spPr>
      </p:pic>
      <p:sp>
        <p:nvSpPr>
          <p:cNvPr id="6" name="Slide Number Placeholder 5" hidden="1">
            <a:extLst>
              <a:ext uri="{FF2B5EF4-FFF2-40B4-BE49-F238E27FC236}">
                <a16:creationId xmlns:a16="http://schemas.microsoft.com/office/drawing/2014/main" id="{732CA859-1614-4CC4-93AF-98AA15CA97C3}"/>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29</a:t>
            </a:fld>
            <a:endParaRPr lang="en-US"/>
          </a:p>
        </p:txBody>
      </p:sp>
    </p:spTree>
    <p:extLst>
      <p:ext uri="{BB962C8B-B14F-4D97-AF65-F5344CB8AC3E}">
        <p14:creationId xmlns:p14="http://schemas.microsoft.com/office/powerpoint/2010/main" val="51231809"/>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E8074-2AF7-DC43-9AA0-FC9AB8D0B93B}"/>
              </a:ext>
            </a:extLst>
          </p:cNvPr>
          <p:cNvSpPr>
            <a:spLocks noGrp="1"/>
          </p:cNvSpPr>
          <p:nvPr>
            <p:ph type="title"/>
          </p:nvPr>
        </p:nvSpPr>
        <p:spPr/>
        <p:txBody>
          <a:bodyPr/>
          <a:lstStyle/>
          <a:p>
            <a:r>
              <a:rPr lang="en-RO" dirty="0"/>
              <a:t>About Your Speaker</a:t>
            </a:r>
          </a:p>
        </p:txBody>
      </p:sp>
      <p:sp>
        <p:nvSpPr>
          <p:cNvPr id="3" name="Content Placeholder 2">
            <a:extLst>
              <a:ext uri="{FF2B5EF4-FFF2-40B4-BE49-F238E27FC236}">
                <a16:creationId xmlns:a16="http://schemas.microsoft.com/office/drawing/2014/main" id="{E72C2FF8-8A2B-AB4C-BBE4-F62604E66CA5}"/>
              </a:ext>
            </a:extLst>
          </p:cNvPr>
          <p:cNvSpPr>
            <a:spLocks noGrp="1"/>
          </p:cNvSpPr>
          <p:nvPr>
            <p:ph idx="1"/>
          </p:nvPr>
        </p:nvSpPr>
        <p:spPr/>
        <p:txBody>
          <a:bodyPr/>
          <a:lstStyle/>
          <a:p>
            <a:pPr marL="0" indent="0">
              <a:buNone/>
            </a:pPr>
            <a:r>
              <a:rPr lang="en-GB" dirty="0">
                <a:solidFill>
                  <a:schemeClr val="tx1"/>
                </a:solidFill>
              </a:rPr>
              <a:t>This session is being delivered by </a:t>
            </a:r>
            <a:r>
              <a:rPr lang="en-GB" dirty="0">
                <a:solidFill>
                  <a:schemeClr val="tx1"/>
                </a:solidFill>
                <a:hlinkClick r:id="rId2"/>
              </a:rPr>
              <a:t>Silviu </a:t>
            </a:r>
            <a:r>
              <a:rPr lang="en-GB" dirty="0" err="1">
                <a:solidFill>
                  <a:schemeClr val="tx1"/>
                </a:solidFill>
                <a:hlinkClick r:id="rId2"/>
              </a:rPr>
              <a:t>Niculiță</a:t>
            </a:r>
            <a:r>
              <a:rPr lang="en-GB" dirty="0">
                <a:solidFill>
                  <a:schemeClr val="tx1"/>
                </a:solidFill>
              </a:rPr>
              <a:t>, an effective technology professional with decades of experience in implementing high-availability/high-capacity software products.</a:t>
            </a:r>
          </a:p>
          <a:p>
            <a:endParaRPr lang="en-GB" dirty="0">
              <a:solidFill>
                <a:schemeClr val="tx1"/>
              </a:solidFill>
            </a:endParaRPr>
          </a:p>
          <a:p>
            <a:pPr marL="0" indent="0">
              <a:buNone/>
            </a:pPr>
            <a:r>
              <a:rPr lang="en-GB" dirty="0">
                <a:solidFill>
                  <a:schemeClr val="tx1"/>
                </a:solidFill>
              </a:rPr>
              <a:t>             </a:t>
            </a:r>
            <a:r>
              <a:rPr lang="en-GB" b="1" dirty="0">
                <a:solidFill>
                  <a:schemeClr val="tx1"/>
                </a:solidFill>
              </a:rPr>
              <a:t>Professional Experience                           Qualifications</a:t>
            </a:r>
          </a:p>
          <a:p>
            <a:endParaRPr lang="en-RO" dirty="0"/>
          </a:p>
        </p:txBody>
      </p:sp>
      <p:pic>
        <p:nvPicPr>
          <p:cNvPr id="6" name="Picture 1" descr="page4image56778672">
            <a:extLst>
              <a:ext uri="{FF2B5EF4-FFF2-40B4-BE49-F238E27FC236}">
                <a16:creationId xmlns:a16="http://schemas.microsoft.com/office/drawing/2014/main" id="{0C544DA1-1D60-2346-9B70-389F9E7197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10924" y="4889798"/>
            <a:ext cx="3254153" cy="133634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1" descr="page4image56778464">
            <a:extLst>
              <a:ext uri="{FF2B5EF4-FFF2-40B4-BE49-F238E27FC236}">
                <a16:creationId xmlns:a16="http://schemas.microsoft.com/office/drawing/2014/main" id="{12BA2726-4325-B249-852A-F5DA7D5A1B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0951" y="3533205"/>
            <a:ext cx="2140007" cy="14338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page4image56772848">
            <a:extLst>
              <a:ext uri="{FF2B5EF4-FFF2-40B4-BE49-F238E27FC236}">
                <a16:creationId xmlns:a16="http://schemas.microsoft.com/office/drawing/2014/main" id="{79B825AF-3EC2-AD41-B607-789EA27100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68283" y="4436530"/>
            <a:ext cx="1298487" cy="12984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5" descr="page4image56772432">
            <a:extLst>
              <a:ext uri="{FF2B5EF4-FFF2-40B4-BE49-F238E27FC236}">
                <a16:creationId xmlns:a16="http://schemas.microsoft.com/office/drawing/2014/main" id="{34C5AF81-3788-E541-B1ED-93611F9470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18600" y="3733135"/>
            <a:ext cx="1386634" cy="7692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page4image56773472">
            <a:extLst>
              <a:ext uri="{FF2B5EF4-FFF2-40B4-BE49-F238E27FC236}">
                <a16:creationId xmlns:a16="http://schemas.microsoft.com/office/drawing/2014/main" id="{9FF22591-41A2-D549-9C27-BDCCE98CF2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44116" y="3600870"/>
            <a:ext cx="1355316" cy="102773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7" descr="page4image56774304">
            <a:extLst>
              <a:ext uri="{FF2B5EF4-FFF2-40B4-BE49-F238E27FC236}">
                <a16:creationId xmlns:a16="http://schemas.microsoft.com/office/drawing/2014/main" id="{AC5EB2E0-3B21-EF45-B87B-623882E9A8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05339" y="4891702"/>
            <a:ext cx="1031701" cy="4635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9" descr="Siemens Logo | Symbol, History, PNG (3840*2160)">
            <a:extLst>
              <a:ext uri="{FF2B5EF4-FFF2-40B4-BE49-F238E27FC236}">
                <a16:creationId xmlns:a16="http://schemas.microsoft.com/office/drawing/2014/main" id="{AFA5EFEA-83C3-CE45-B4D3-C0F5613829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2608" y="5558101"/>
            <a:ext cx="1571984" cy="88031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1" descr="Carnegie Mellon University - Wikipedia">
            <a:extLst>
              <a:ext uri="{FF2B5EF4-FFF2-40B4-BE49-F238E27FC236}">
                <a16:creationId xmlns:a16="http://schemas.microsoft.com/office/drawing/2014/main" id="{C9839D47-B33E-764B-8C69-89D67D2548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36061" y="5121597"/>
            <a:ext cx="1161238" cy="11612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156482"/>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37DAB-87EC-49C1-BBAF-8BA087D48F26}"/>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Advanced Analytics Architecture</a:t>
            </a:r>
          </a:p>
        </p:txBody>
      </p:sp>
      <p:pic>
        <p:nvPicPr>
          <p:cNvPr id="7" name="Content Placeholder 6">
            <a:extLst>
              <a:ext uri="{FF2B5EF4-FFF2-40B4-BE49-F238E27FC236}">
                <a16:creationId xmlns:a16="http://schemas.microsoft.com/office/drawing/2014/main" id="{0EC1E248-C9E4-42D4-BE9E-74A4F0C6E390}"/>
              </a:ext>
            </a:extLst>
          </p:cNvPr>
          <p:cNvPicPr>
            <a:picLocks noGrp="1" noChangeAspect="1"/>
          </p:cNvPicPr>
          <p:nvPr>
            <p:ph idx="1"/>
          </p:nvPr>
        </p:nvPicPr>
        <p:blipFill rotWithShape="1">
          <a:blip r:embed="rId3"/>
          <a:srcRect t="20169" b="652"/>
          <a:stretch/>
        </p:blipFill>
        <p:spPr>
          <a:xfrm>
            <a:off x="203200" y="1298713"/>
            <a:ext cx="11176000" cy="5486400"/>
          </a:xfrm>
          <a:prstGeom prst="rect">
            <a:avLst/>
          </a:prstGeom>
          <a:noFill/>
        </p:spPr>
      </p:pic>
      <p:sp>
        <p:nvSpPr>
          <p:cNvPr id="6" name="Slide Number Placeholder 5" hidden="1">
            <a:extLst>
              <a:ext uri="{FF2B5EF4-FFF2-40B4-BE49-F238E27FC236}">
                <a16:creationId xmlns:a16="http://schemas.microsoft.com/office/drawing/2014/main" id="{1A244BC2-6433-43A5-8CA0-23D76114A0D7}"/>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30</a:t>
            </a:fld>
            <a:endParaRPr lang="en-US"/>
          </a:p>
        </p:txBody>
      </p:sp>
    </p:spTree>
    <p:extLst>
      <p:ext uri="{BB962C8B-B14F-4D97-AF65-F5344CB8AC3E}">
        <p14:creationId xmlns:p14="http://schemas.microsoft.com/office/powerpoint/2010/main" val="304136768"/>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DAAB5-E291-4306-9E22-679D04D4D8F0}"/>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Real Time Analytics on Big Data Architecture</a:t>
            </a:r>
          </a:p>
        </p:txBody>
      </p:sp>
      <p:pic>
        <p:nvPicPr>
          <p:cNvPr id="7" name="Content Placeholder 6">
            <a:extLst>
              <a:ext uri="{FF2B5EF4-FFF2-40B4-BE49-F238E27FC236}">
                <a16:creationId xmlns:a16="http://schemas.microsoft.com/office/drawing/2014/main" id="{91941A0F-B4A2-451F-846B-0A91A82A9CDE}"/>
              </a:ext>
            </a:extLst>
          </p:cNvPr>
          <p:cNvPicPr>
            <a:picLocks noGrp="1" noChangeAspect="1"/>
          </p:cNvPicPr>
          <p:nvPr>
            <p:ph idx="1"/>
          </p:nvPr>
        </p:nvPicPr>
        <p:blipFill>
          <a:blip r:embed="rId3"/>
          <a:stretch>
            <a:fillRect/>
          </a:stretch>
        </p:blipFill>
        <p:spPr>
          <a:xfrm>
            <a:off x="309797" y="1419964"/>
            <a:ext cx="11176000" cy="5224780"/>
          </a:xfrm>
          <a:prstGeom prst="rect">
            <a:avLst/>
          </a:prstGeom>
          <a:noFill/>
        </p:spPr>
      </p:pic>
      <p:sp>
        <p:nvSpPr>
          <p:cNvPr id="6" name="Slide Number Placeholder 5" hidden="1">
            <a:extLst>
              <a:ext uri="{FF2B5EF4-FFF2-40B4-BE49-F238E27FC236}">
                <a16:creationId xmlns:a16="http://schemas.microsoft.com/office/drawing/2014/main" id="{A4D6525F-6F06-4344-B471-37EBC98F87CD}"/>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31</a:t>
            </a:fld>
            <a:endParaRPr lang="en-US"/>
          </a:p>
        </p:txBody>
      </p:sp>
    </p:spTree>
    <p:extLst>
      <p:ext uri="{BB962C8B-B14F-4D97-AF65-F5344CB8AC3E}">
        <p14:creationId xmlns:p14="http://schemas.microsoft.com/office/powerpoint/2010/main" val="743391044"/>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3C805-725B-40BA-BF12-A9F75F2FCAF4}"/>
              </a:ext>
            </a:extLst>
          </p:cNvPr>
          <p:cNvSpPr>
            <a:spLocks noGrp="1"/>
          </p:cNvSpPr>
          <p:nvPr>
            <p:ph type="title"/>
          </p:nvPr>
        </p:nvSpPr>
        <p:spPr/>
        <p:txBody>
          <a:bodyPr/>
          <a:lstStyle/>
          <a:p>
            <a:r>
              <a:rPr lang="en-IN" dirty="0"/>
              <a:t>Design for Messaging</a:t>
            </a:r>
          </a:p>
        </p:txBody>
      </p:sp>
    </p:spTree>
    <p:extLst>
      <p:ext uri="{BB962C8B-B14F-4D97-AF65-F5344CB8AC3E}">
        <p14:creationId xmlns:p14="http://schemas.microsoft.com/office/powerpoint/2010/main" val="2912152716"/>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7D129-154D-4923-90E7-B7ABB5730B19}"/>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Messaging</a:t>
            </a:r>
          </a:p>
        </p:txBody>
      </p:sp>
      <p:graphicFrame>
        <p:nvGraphicFramePr>
          <p:cNvPr id="8" name="Content Placeholder 2">
            <a:extLst>
              <a:ext uri="{FF2B5EF4-FFF2-40B4-BE49-F238E27FC236}">
                <a16:creationId xmlns:a16="http://schemas.microsoft.com/office/drawing/2014/main" id="{D95F6F18-AF3A-46CC-98A0-95588E7C4C72}"/>
              </a:ext>
            </a:extLst>
          </p:cNvPr>
          <p:cNvGraphicFramePr>
            <a:graphicFrameLocks noGrp="1"/>
          </p:cNvGraphicFramePr>
          <p:nvPr>
            <p:ph idx="1"/>
            <p:extLst>
              <p:ext uri="{D42A27DB-BD31-4B8C-83A1-F6EECF244321}">
                <p14:modId xmlns:p14="http://schemas.microsoft.com/office/powerpoint/2010/main" val="722974135"/>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5" hidden="1">
            <a:extLst>
              <a:ext uri="{FF2B5EF4-FFF2-40B4-BE49-F238E27FC236}">
                <a16:creationId xmlns:a16="http://schemas.microsoft.com/office/drawing/2014/main" id="{56F9E96C-FDA5-4DC5-BD1D-C9A21DC3B17E}"/>
              </a:ext>
            </a:extLst>
          </p:cNvPr>
          <p:cNvSpPr>
            <a:spLocks noGrp="1"/>
          </p:cNvSpPr>
          <p:nvPr>
            <p:ph type="sldNum" sz="quarter" idx="4294967295"/>
          </p:nvPr>
        </p:nvSpPr>
        <p:spPr>
          <a:xfrm>
            <a:off x="8737600" y="6356352"/>
            <a:ext cx="2844800" cy="365125"/>
          </a:xfrm>
          <a:prstGeom prst="rect">
            <a:avLst/>
          </a:prstGeom>
        </p:spPr>
        <p:txBody>
          <a:bodyPr/>
          <a:lstStyle/>
          <a:p>
            <a:pPr>
              <a:spcAft>
                <a:spcPts val="600"/>
              </a:spcAft>
            </a:pPr>
            <a:fld id="{81D2C36F-4504-47C0-B82F-A167342A2754}" type="slidenum">
              <a:rPr lang="en-US" smtClean="0"/>
              <a:pPr>
                <a:spcAft>
                  <a:spcPts val="600"/>
                </a:spcAft>
              </a:pPr>
              <a:t>33</a:t>
            </a:fld>
            <a:endParaRPr lang="en-US"/>
          </a:p>
        </p:txBody>
      </p:sp>
    </p:spTree>
    <p:extLst>
      <p:ext uri="{BB962C8B-B14F-4D97-AF65-F5344CB8AC3E}">
        <p14:creationId xmlns:p14="http://schemas.microsoft.com/office/powerpoint/2010/main" val="3441756882"/>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D4250-DEB4-402A-91D4-BE882735C8B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Asynchronous Request-Reply pattern</a:t>
            </a:r>
          </a:p>
        </p:txBody>
      </p:sp>
      <p:sp>
        <p:nvSpPr>
          <p:cNvPr id="3" name="Content Placeholder 2">
            <a:extLst>
              <a:ext uri="{FF2B5EF4-FFF2-40B4-BE49-F238E27FC236}">
                <a16:creationId xmlns:a16="http://schemas.microsoft.com/office/drawing/2014/main" id="{B55C2C9F-A646-4CCA-8706-C4CF1F5814A4}"/>
              </a:ext>
            </a:extLst>
          </p:cNvPr>
          <p:cNvSpPr>
            <a:spLocks noGrp="1"/>
          </p:cNvSpPr>
          <p:nvPr>
            <p:ph idx="1"/>
          </p:nvPr>
        </p:nvSpPr>
        <p:spPr/>
        <p:txBody>
          <a:bodyPr/>
          <a:lstStyle/>
          <a:p>
            <a:r>
              <a:rPr lang="en-US" dirty="0">
                <a:solidFill>
                  <a:schemeClr val="tx1"/>
                </a:solidFill>
              </a:rPr>
              <a:t>Decouple backend processing from a frontend host, where backend processing needs to be asynchronous, but the frontend still needs a clear response.</a:t>
            </a:r>
          </a:p>
          <a:p>
            <a:endParaRPr lang="en-US" dirty="0">
              <a:solidFill>
                <a:schemeClr val="tx1"/>
              </a:solidFill>
            </a:endParaRPr>
          </a:p>
          <a:p>
            <a:endParaRPr lang="en-IN" dirty="0">
              <a:solidFill>
                <a:schemeClr val="tx1"/>
              </a:solidFill>
            </a:endParaRPr>
          </a:p>
        </p:txBody>
      </p:sp>
      <p:pic>
        <p:nvPicPr>
          <p:cNvPr id="6" name="Picture 5" descr="Diagram&#10;&#10;Description automatically generated">
            <a:extLst>
              <a:ext uri="{FF2B5EF4-FFF2-40B4-BE49-F238E27FC236}">
                <a16:creationId xmlns:a16="http://schemas.microsoft.com/office/drawing/2014/main" id="{1E95A33D-8862-4F92-9A73-1B5ABA084F7E}"/>
              </a:ext>
            </a:extLst>
          </p:cNvPr>
          <p:cNvPicPr>
            <a:picLocks noChangeAspect="1"/>
          </p:cNvPicPr>
          <p:nvPr/>
        </p:nvPicPr>
        <p:blipFill>
          <a:blip r:embed="rId3"/>
          <a:stretch>
            <a:fillRect/>
          </a:stretch>
        </p:blipFill>
        <p:spPr>
          <a:xfrm>
            <a:off x="2199998" y="3059083"/>
            <a:ext cx="8134600" cy="2277687"/>
          </a:xfrm>
          <a:prstGeom prst="rect">
            <a:avLst/>
          </a:prstGeom>
        </p:spPr>
      </p:pic>
    </p:spTree>
    <p:extLst>
      <p:ext uri="{BB962C8B-B14F-4D97-AF65-F5344CB8AC3E}">
        <p14:creationId xmlns:p14="http://schemas.microsoft.com/office/powerpoint/2010/main" val="3516988696"/>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D4250-DEB4-402A-91D4-BE882735C8B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Messaging</a:t>
            </a:r>
          </a:p>
        </p:txBody>
      </p:sp>
      <p:graphicFrame>
        <p:nvGraphicFramePr>
          <p:cNvPr id="9" name="Content Placeholder 6">
            <a:extLst>
              <a:ext uri="{FF2B5EF4-FFF2-40B4-BE49-F238E27FC236}">
                <a16:creationId xmlns:a16="http://schemas.microsoft.com/office/drawing/2014/main" id="{6F2193FA-D8F8-4ED4-BAA2-6C14D556F6D3}"/>
              </a:ext>
            </a:extLst>
          </p:cNvPr>
          <p:cNvGraphicFramePr>
            <a:graphicFrameLocks/>
          </p:cNvGraphicFramePr>
          <p:nvPr>
            <p:extLst>
              <p:ext uri="{D42A27DB-BD31-4B8C-83A1-F6EECF244321}">
                <p14:modId xmlns:p14="http://schemas.microsoft.com/office/powerpoint/2010/main" val="2243804379"/>
              </p:ext>
            </p:extLst>
          </p:nvPr>
        </p:nvGraphicFramePr>
        <p:xfrm>
          <a:off x="609600" y="1710383"/>
          <a:ext cx="11175999" cy="4374230"/>
        </p:xfrm>
        <a:graphic>
          <a:graphicData uri="http://schemas.openxmlformats.org/drawingml/2006/table">
            <a:tbl>
              <a:tblPr>
                <a:tableStyleId>{69CF1AB2-1976-4502-BF36-3FF5EA218861}</a:tableStyleId>
              </a:tblPr>
              <a:tblGrid>
                <a:gridCol w="2268511">
                  <a:extLst>
                    <a:ext uri="{9D8B030D-6E8A-4147-A177-3AD203B41FA5}">
                      <a16:colId xmlns:a16="http://schemas.microsoft.com/office/drawing/2014/main" val="1945699170"/>
                    </a:ext>
                  </a:extLst>
                </a:gridCol>
                <a:gridCol w="8907488">
                  <a:extLst>
                    <a:ext uri="{9D8B030D-6E8A-4147-A177-3AD203B41FA5}">
                      <a16:colId xmlns:a16="http://schemas.microsoft.com/office/drawing/2014/main" val="2118485090"/>
                    </a:ext>
                  </a:extLst>
                </a:gridCol>
              </a:tblGrid>
              <a:tr h="457948">
                <a:tc>
                  <a:txBody>
                    <a:bodyPr/>
                    <a:lstStyle/>
                    <a:p>
                      <a:pPr algn="l" fontAlgn="t">
                        <a:spcBef>
                          <a:spcPts val="0"/>
                        </a:spcBef>
                        <a:spcAft>
                          <a:spcPts val="0"/>
                        </a:spcAft>
                      </a:pPr>
                      <a:r>
                        <a:rPr lang="en-IN" sz="1400" b="0" u="none" strike="noStrike" dirty="0">
                          <a:effectLst/>
                          <a:hlinkClick r:id="rId2"/>
                        </a:rPr>
                        <a:t>Claim Check</a:t>
                      </a:r>
                      <a:endParaRPr lang="en-IN" sz="1400" b="0" i="0" u="none" strike="noStrike" dirty="0">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dirty="0">
                          <a:effectLst/>
                        </a:rPr>
                        <a:t>Split a large message into a claim check and a payload to avoid overwhelming a message bus.</a:t>
                      </a:r>
                      <a:endParaRPr lang="en-IN" sz="1400" b="0" i="0" u="none" strike="noStrike" dirty="0">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1920302030"/>
                  </a:ext>
                </a:extLst>
              </a:tr>
              <a:tr h="643602">
                <a:tc>
                  <a:txBody>
                    <a:bodyPr/>
                    <a:lstStyle/>
                    <a:p>
                      <a:pPr algn="l" fontAlgn="t">
                        <a:spcBef>
                          <a:spcPts val="0"/>
                        </a:spcBef>
                        <a:spcAft>
                          <a:spcPts val="0"/>
                        </a:spcAft>
                      </a:pPr>
                      <a:r>
                        <a:rPr lang="en-IN" sz="1400" b="0" u="none" strike="noStrike" dirty="0">
                          <a:effectLst/>
                          <a:hlinkClick r:id="rId3"/>
                        </a:rPr>
                        <a:t>Choreography</a:t>
                      </a:r>
                      <a:endParaRPr lang="en-IN" sz="1400" b="0" i="0" u="none" strike="noStrike" dirty="0">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Have each component of the system participate in the decision-making process about the workflow of a business transaction, instead of relying on a central point of control.</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241013595"/>
                  </a:ext>
                </a:extLst>
              </a:tr>
              <a:tr h="457948">
                <a:tc>
                  <a:txBody>
                    <a:bodyPr/>
                    <a:lstStyle/>
                    <a:p>
                      <a:pPr algn="l" fontAlgn="t">
                        <a:spcBef>
                          <a:spcPts val="0"/>
                        </a:spcBef>
                        <a:spcAft>
                          <a:spcPts val="0"/>
                        </a:spcAft>
                      </a:pPr>
                      <a:r>
                        <a:rPr lang="en-IN" sz="1400" b="0" u="none" strike="noStrike">
                          <a:effectLst/>
                          <a:hlinkClick r:id="rId4"/>
                        </a:rPr>
                        <a:t>Competing Consumers</a:t>
                      </a:r>
                      <a:endParaRPr lang="en-IN" sz="1400" b="0" i="0" u="none" strike="noStrike">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Enable multiple concurrent consumers to process messages received on the same messaging channel.</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178375662"/>
                  </a:ext>
                </a:extLst>
              </a:tr>
              <a:tr h="457948">
                <a:tc>
                  <a:txBody>
                    <a:bodyPr/>
                    <a:lstStyle/>
                    <a:p>
                      <a:pPr algn="l" fontAlgn="t">
                        <a:spcBef>
                          <a:spcPts val="0"/>
                        </a:spcBef>
                        <a:spcAft>
                          <a:spcPts val="0"/>
                        </a:spcAft>
                      </a:pPr>
                      <a:r>
                        <a:rPr lang="en-IN" sz="1400" b="0" u="none" strike="noStrike" dirty="0">
                          <a:effectLst/>
                          <a:hlinkClick r:id="rId5"/>
                        </a:rPr>
                        <a:t>Pipes and Filters</a:t>
                      </a:r>
                      <a:endParaRPr lang="en-IN" sz="1400" b="0" i="0" u="none" strike="noStrike" dirty="0">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dirty="0">
                          <a:effectLst/>
                        </a:rPr>
                        <a:t>Break down a task that performs complex processing into a series of separate elements that can be reused.</a:t>
                      </a:r>
                      <a:endParaRPr lang="en-IN" sz="1400" b="0" i="0" u="none" strike="noStrike" dirty="0">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3415988017"/>
                  </a:ext>
                </a:extLst>
              </a:tr>
              <a:tr h="457948">
                <a:tc>
                  <a:txBody>
                    <a:bodyPr/>
                    <a:lstStyle/>
                    <a:p>
                      <a:pPr algn="l" fontAlgn="t">
                        <a:spcBef>
                          <a:spcPts val="0"/>
                        </a:spcBef>
                        <a:spcAft>
                          <a:spcPts val="0"/>
                        </a:spcAft>
                      </a:pPr>
                      <a:r>
                        <a:rPr lang="en-IN" sz="1400" b="0" u="none" strike="noStrike">
                          <a:effectLst/>
                          <a:hlinkClick r:id="rId6"/>
                        </a:rPr>
                        <a:t>Priority Queue</a:t>
                      </a:r>
                      <a:endParaRPr lang="en-IN" sz="1400" b="0" i="0" u="none" strike="noStrike">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Prioritize requests sent to services so that requests with a higher priority are received and processed more quickly than those with a lower priority.</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2761196480"/>
                  </a:ext>
                </a:extLst>
              </a:tr>
              <a:tr h="457948">
                <a:tc>
                  <a:txBody>
                    <a:bodyPr/>
                    <a:lstStyle/>
                    <a:p>
                      <a:pPr algn="l" fontAlgn="t">
                        <a:spcBef>
                          <a:spcPts val="0"/>
                        </a:spcBef>
                        <a:spcAft>
                          <a:spcPts val="0"/>
                        </a:spcAft>
                      </a:pPr>
                      <a:r>
                        <a:rPr lang="en-IN" sz="1400" b="0" u="none" strike="noStrike">
                          <a:effectLst/>
                          <a:hlinkClick r:id="rId7"/>
                        </a:rPr>
                        <a:t>Publisher-Subscriber</a:t>
                      </a:r>
                      <a:endParaRPr lang="en-IN" sz="1400" b="0" i="0" u="none" strike="noStrike">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Enable an application to announce events to multiple interested consumers asynchronously, without coupling the senders to the receivers.</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3460950919"/>
                  </a:ext>
                </a:extLst>
              </a:tr>
              <a:tr h="457948">
                <a:tc>
                  <a:txBody>
                    <a:bodyPr/>
                    <a:lstStyle/>
                    <a:p>
                      <a:pPr algn="l" fontAlgn="t">
                        <a:spcBef>
                          <a:spcPts val="0"/>
                        </a:spcBef>
                        <a:spcAft>
                          <a:spcPts val="0"/>
                        </a:spcAft>
                      </a:pPr>
                      <a:r>
                        <a:rPr lang="en-IN" sz="1400" b="0" u="none" strike="noStrike">
                          <a:effectLst/>
                          <a:hlinkClick r:id="rId8"/>
                        </a:rPr>
                        <a:t>Queue-Based Load Leveling</a:t>
                      </a:r>
                      <a:endParaRPr lang="en-IN" sz="1400" b="0" i="0" u="none" strike="noStrike">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Use a queue that acts as a buffer between a task and a service that it invokes in order to smooth intermittent heavy loads.</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1191969518"/>
                  </a:ext>
                </a:extLst>
              </a:tr>
              <a:tr h="457948">
                <a:tc>
                  <a:txBody>
                    <a:bodyPr/>
                    <a:lstStyle/>
                    <a:p>
                      <a:pPr algn="l" fontAlgn="t">
                        <a:spcBef>
                          <a:spcPts val="0"/>
                        </a:spcBef>
                        <a:spcAft>
                          <a:spcPts val="0"/>
                        </a:spcAft>
                      </a:pPr>
                      <a:r>
                        <a:rPr lang="en-IN" sz="1400" b="0" u="none" strike="noStrike">
                          <a:effectLst/>
                          <a:hlinkClick r:id="rId9"/>
                        </a:rPr>
                        <a:t>Scheduler Agent Supervisor</a:t>
                      </a:r>
                      <a:endParaRPr lang="en-IN" sz="1400" b="0" i="0" u="none" strike="noStrike">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a:effectLst/>
                        </a:rPr>
                        <a:t>Coordinate a set of actions across a distributed set of services and other remote resources.</a:t>
                      </a:r>
                      <a:endParaRPr lang="en-IN" sz="1400" b="0" i="0" u="none" strike="noStrike">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3037469896"/>
                  </a:ext>
                </a:extLst>
              </a:tr>
              <a:tr h="457948">
                <a:tc>
                  <a:txBody>
                    <a:bodyPr/>
                    <a:lstStyle/>
                    <a:p>
                      <a:pPr algn="l" fontAlgn="t">
                        <a:spcBef>
                          <a:spcPts val="0"/>
                        </a:spcBef>
                        <a:spcAft>
                          <a:spcPts val="0"/>
                        </a:spcAft>
                      </a:pPr>
                      <a:r>
                        <a:rPr lang="en-IN" sz="1400" b="0" u="none" strike="noStrike" dirty="0">
                          <a:effectLst/>
                          <a:hlinkClick r:id="rId10"/>
                        </a:rPr>
                        <a:t>Sequential Convoy</a:t>
                      </a:r>
                      <a:endParaRPr lang="en-IN" sz="1400" b="0" i="0" u="none" strike="noStrike" dirty="0">
                        <a:effectLst/>
                        <a:latin typeface="Arial" panose="020B0604020202020204" pitchFamily="34" charset="0"/>
                      </a:endParaRPr>
                    </a:p>
                  </a:txBody>
                  <a:tcPr marL="53576" marR="53576" marT="26788" marB="26788" anchor="ctr"/>
                </a:tc>
                <a:tc>
                  <a:txBody>
                    <a:bodyPr/>
                    <a:lstStyle/>
                    <a:p>
                      <a:pPr algn="l" fontAlgn="t">
                        <a:spcBef>
                          <a:spcPts val="0"/>
                        </a:spcBef>
                        <a:spcAft>
                          <a:spcPts val="0"/>
                        </a:spcAft>
                      </a:pPr>
                      <a:r>
                        <a:rPr lang="en-IN" sz="1400" b="0" u="none" strike="noStrike" dirty="0">
                          <a:effectLst/>
                        </a:rPr>
                        <a:t>Process a set of related messages in a defined order, without blocking processing of other groups of messages.</a:t>
                      </a:r>
                      <a:endParaRPr lang="en-IN" sz="1400" b="0" i="0" u="none" strike="noStrike" dirty="0">
                        <a:effectLst/>
                        <a:latin typeface="Arial" panose="020B0604020202020204" pitchFamily="34" charset="0"/>
                      </a:endParaRPr>
                    </a:p>
                  </a:txBody>
                  <a:tcPr marL="53576" marR="53576" marT="26788" marB="26788" anchor="ctr"/>
                </a:tc>
                <a:extLst>
                  <a:ext uri="{0D108BD9-81ED-4DB2-BD59-A6C34878D82A}">
                    <a16:rowId xmlns:a16="http://schemas.microsoft.com/office/drawing/2014/main" val="1917517901"/>
                  </a:ext>
                </a:extLst>
              </a:tr>
            </a:tbl>
          </a:graphicData>
        </a:graphic>
      </p:graphicFrame>
    </p:spTree>
    <p:extLst>
      <p:ext uri="{BB962C8B-B14F-4D97-AF65-F5344CB8AC3E}">
        <p14:creationId xmlns:p14="http://schemas.microsoft.com/office/powerpoint/2010/main" val="2849714597"/>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19A3-02CC-44DF-A766-F4330E35ECD6}"/>
              </a:ext>
            </a:extLst>
          </p:cNvPr>
          <p:cNvSpPr>
            <a:spLocks noGrp="1"/>
          </p:cNvSpPr>
          <p:nvPr>
            <p:ph type="title"/>
          </p:nvPr>
        </p:nvSpPr>
        <p:spPr/>
        <p:txBody>
          <a:bodyPr/>
          <a:lstStyle/>
          <a:p>
            <a:r>
              <a:rPr lang="en-US" dirty="0"/>
              <a:t>Design for Management and Monitoring</a:t>
            </a:r>
            <a:endParaRPr lang="en-IN" dirty="0"/>
          </a:p>
        </p:txBody>
      </p:sp>
    </p:spTree>
    <p:extLst>
      <p:ext uri="{BB962C8B-B14F-4D97-AF65-F5344CB8AC3E}">
        <p14:creationId xmlns:p14="http://schemas.microsoft.com/office/powerpoint/2010/main" val="1566855811"/>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830BD-20FD-4D72-B88F-B410F9D6B97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Management and Monitoring</a:t>
            </a:r>
          </a:p>
        </p:txBody>
      </p:sp>
      <p:sp>
        <p:nvSpPr>
          <p:cNvPr id="3" name="Content Placeholder 2">
            <a:extLst>
              <a:ext uri="{FF2B5EF4-FFF2-40B4-BE49-F238E27FC236}">
                <a16:creationId xmlns:a16="http://schemas.microsoft.com/office/drawing/2014/main" id="{36F5B732-AB5F-4EEA-B148-F0B2E42B4C8B}"/>
              </a:ext>
            </a:extLst>
          </p:cNvPr>
          <p:cNvSpPr>
            <a:spLocks noGrp="1"/>
          </p:cNvSpPr>
          <p:nvPr>
            <p:ph idx="1"/>
          </p:nvPr>
        </p:nvSpPr>
        <p:spPr/>
        <p:txBody>
          <a:bodyPr>
            <a:normAutofit/>
          </a:bodyPr>
          <a:lstStyle/>
          <a:p>
            <a:pPr marL="0" indent="0" algn="l">
              <a:buNone/>
            </a:pPr>
            <a:r>
              <a:rPr lang="en-IN" b="0" i="0" dirty="0">
                <a:solidFill>
                  <a:srgbClr val="171717"/>
                </a:solidFill>
                <a:effectLst/>
                <a:latin typeface="Segoe UI" panose="020B0502040204020203" pitchFamily="34" charset="0"/>
              </a:rPr>
              <a:t>Application-centric platform monitoring, encompassing both hot and cold telemetry paths for metrics and logs, respectively:</a:t>
            </a:r>
          </a:p>
          <a:p>
            <a:r>
              <a:rPr lang="en-IN" sz="2200" b="0" i="0" dirty="0">
                <a:solidFill>
                  <a:srgbClr val="171717"/>
                </a:solidFill>
                <a:effectLst/>
                <a:latin typeface="Segoe UI" panose="020B0502040204020203" pitchFamily="34" charset="0"/>
              </a:rPr>
              <a:t>Operating system metrics; for example, performance counters and custom metrics;</a:t>
            </a:r>
          </a:p>
          <a:p>
            <a:r>
              <a:rPr lang="en-IN" sz="2200" b="0" i="0" dirty="0">
                <a:solidFill>
                  <a:srgbClr val="171717"/>
                </a:solidFill>
                <a:effectLst/>
                <a:latin typeface="Segoe UI" panose="020B0502040204020203" pitchFamily="34" charset="0"/>
              </a:rPr>
              <a:t>Operating system logs; for example, Internet Information Services, Event Tracing for Windows, and syslog;</a:t>
            </a:r>
          </a:p>
          <a:p>
            <a:r>
              <a:rPr lang="en-IN" sz="2200" b="0" i="0" dirty="0">
                <a:solidFill>
                  <a:srgbClr val="171717"/>
                </a:solidFill>
                <a:effectLst/>
                <a:latin typeface="Segoe UI" panose="020B0502040204020203" pitchFamily="34" charset="0"/>
              </a:rPr>
              <a:t>Resource health events;</a:t>
            </a:r>
          </a:p>
          <a:p>
            <a:endParaRPr lang="en-IN" sz="2000" dirty="0"/>
          </a:p>
        </p:txBody>
      </p:sp>
    </p:spTree>
    <p:extLst>
      <p:ext uri="{BB962C8B-B14F-4D97-AF65-F5344CB8AC3E}">
        <p14:creationId xmlns:p14="http://schemas.microsoft.com/office/powerpoint/2010/main" val="3104214956"/>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830BD-20FD-4D72-B88F-B410F9D6B97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Management and Monitoring</a:t>
            </a:r>
          </a:p>
        </p:txBody>
      </p:sp>
      <p:sp>
        <p:nvSpPr>
          <p:cNvPr id="3" name="Content Placeholder 2">
            <a:extLst>
              <a:ext uri="{FF2B5EF4-FFF2-40B4-BE49-F238E27FC236}">
                <a16:creationId xmlns:a16="http://schemas.microsoft.com/office/drawing/2014/main" id="{36F5B732-AB5F-4EEA-B148-F0B2E42B4C8B}"/>
              </a:ext>
            </a:extLst>
          </p:cNvPr>
          <p:cNvSpPr>
            <a:spLocks noGrp="1"/>
          </p:cNvSpPr>
          <p:nvPr>
            <p:ph idx="1"/>
          </p:nvPr>
        </p:nvSpPr>
        <p:spPr/>
        <p:txBody>
          <a:bodyPr>
            <a:normAutofit/>
          </a:bodyPr>
          <a:lstStyle/>
          <a:p>
            <a:pPr marL="0" indent="0" algn="l">
              <a:buNone/>
            </a:pPr>
            <a:r>
              <a:rPr lang="en-IN" b="0" i="0" dirty="0">
                <a:solidFill>
                  <a:srgbClr val="171717"/>
                </a:solidFill>
                <a:effectLst/>
                <a:latin typeface="Segoe UI" panose="020B0502040204020203" pitchFamily="34" charset="0"/>
              </a:rPr>
              <a:t>Security audit logging and achieving a horizontal security lens across your organization's entire Azure estate:</a:t>
            </a:r>
          </a:p>
          <a:p>
            <a:r>
              <a:rPr lang="en-IN" sz="2200" b="0" i="0" dirty="0">
                <a:solidFill>
                  <a:srgbClr val="171717"/>
                </a:solidFill>
                <a:effectLst/>
                <a:latin typeface="Segoe UI" panose="020B0502040204020203" pitchFamily="34" charset="0"/>
              </a:rPr>
              <a:t>Potential integration with on-premises security information and event management (SIEM) systems such as ServiceNow, ArcSight, or the </a:t>
            </a:r>
            <a:r>
              <a:rPr lang="en-IN" sz="2200" b="0" i="0" dirty="0" err="1">
                <a:solidFill>
                  <a:srgbClr val="171717"/>
                </a:solidFill>
                <a:effectLst/>
                <a:latin typeface="Segoe UI" panose="020B0502040204020203" pitchFamily="34" charset="0"/>
              </a:rPr>
              <a:t>Onapsis</a:t>
            </a:r>
            <a:r>
              <a:rPr lang="en-IN" sz="2200" b="0" i="0" dirty="0">
                <a:solidFill>
                  <a:srgbClr val="171717"/>
                </a:solidFill>
                <a:effectLst/>
                <a:latin typeface="Segoe UI" panose="020B0502040204020203" pitchFamily="34" charset="0"/>
              </a:rPr>
              <a:t> security platform;</a:t>
            </a:r>
          </a:p>
          <a:p>
            <a:r>
              <a:rPr lang="en-IN" sz="2200" b="0" i="0" dirty="0">
                <a:solidFill>
                  <a:srgbClr val="171717"/>
                </a:solidFill>
                <a:effectLst/>
                <a:latin typeface="Segoe UI" panose="020B0502040204020203" pitchFamily="34" charset="0"/>
              </a:rPr>
              <a:t>Azure activity logs;</a:t>
            </a:r>
          </a:p>
          <a:p>
            <a:r>
              <a:rPr lang="en-IN" sz="2200" b="0" i="0" dirty="0">
                <a:solidFill>
                  <a:srgbClr val="171717"/>
                </a:solidFill>
                <a:effectLst/>
                <a:latin typeface="Segoe UI" panose="020B0502040204020203" pitchFamily="34" charset="0"/>
              </a:rPr>
              <a:t>Azure Active Directory (Azure AD) audit reports;</a:t>
            </a:r>
          </a:p>
          <a:p>
            <a:r>
              <a:rPr lang="en-IN" sz="2200" b="0" i="0" dirty="0">
                <a:solidFill>
                  <a:srgbClr val="171717"/>
                </a:solidFill>
                <a:effectLst/>
                <a:latin typeface="Segoe UI" panose="020B0502040204020203" pitchFamily="34" charset="0"/>
              </a:rPr>
              <a:t>Azure diagnostic services, logs, and metrics; Azure Key Vault audit events; network security group (NSG) flow logs; and event logs;</a:t>
            </a:r>
          </a:p>
          <a:p>
            <a:r>
              <a:rPr lang="en-IN" sz="2200" b="0" i="0" dirty="0">
                <a:solidFill>
                  <a:srgbClr val="171717"/>
                </a:solidFill>
                <a:effectLst/>
                <a:latin typeface="Segoe UI" panose="020B0502040204020203" pitchFamily="34" charset="0"/>
              </a:rPr>
              <a:t>Azure Monitor, Azure Network Watcher, Azure Security </a:t>
            </a:r>
            <a:r>
              <a:rPr lang="en-IN" sz="2200" b="0" i="0" dirty="0" err="1">
                <a:solidFill>
                  <a:srgbClr val="171717"/>
                </a:solidFill>
                <a:effectLst/>
                <a:latin typeface="Segoe UI" panose="020B0502040204020203" pitchFamily="34" charset="0"/>
              </a:rPr>
              <a:t>Center</a:t>
            </a:r>
            <a:r>
              <a:rPr lang="en-IN" sz="2200" b="0" i="0" dirty="0">
                <a:solidFill>
                  <a:srgbClr val="171717"/>
                </a:solidFill>
                <a:effectLst/>
                <a:latin typeface="Segoe UI" panose="020B0502040204020203" pitchFamily="34" charset="0"/>
              </a:rPr>
              <a:t> and Azure Sentinel;</a:t>
            </a:r>
          </a:p>
          <a:p>
            <a:endParaRPr lang="en-IN" dirty="0"/>
          </a:p>
        </p:txBody>
      </p:sp>
    </p:spTree>
    <p:extLst>
      <p:ext uri="{BB962C8B-B14F-4D97-AF65-F5344CB8AC3E}">
        <p14:creationId xmlns:p14="http://schemas.microsoft.com/office/powerpoint/2010/main" val="2373377191"/>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AEAC-74AC-8D4F-B58C-C408328D01C5}"/>
              </a:ext>
            </a:extLst>
          </p:cNvPr>
          <p:cNvSpPr>
            <a:spLocks noGrp="1"/>
          </p:cNvSpPr>
          <p:nvPr>
            <p:ph type="title"/>
          </p:nvPr>
        </p:nvSpPr>
        <p:spPr/>
        <p:txBody>
          <a:bodyPr/>
          <a:lstStyle/>
          <a:p>
            <a:r>
              <a:rPr lang="en-RO" dirty="0"/>
              <a:t>Built-in Security Monitoring</a:t>
            </a:r>
          </a:p>
        </p:txBody>
      </p:sp>
      <p:pic>
        <p:nvPicPr>
          <p:cNvPr id="5" name="Picture 4">
            <a:extLst>
              <a:ext uri="{FF2B5EF4-FFF2-40B4-BE49-F238E27FC236}">
                <a16:creationId xmlns:a16="http://schemas.microsoft.com/office/drawing/2014/main" id="{6E435F1B-BF97-5845-A521-0405A3DAF39E}"/>
              </a:ext>
            </a:extLst>
          </p:cNvPr>
          <p:cNvPicPr>
            <a:picLocks noChangeAspect="1"/>
          </p:cNvPicPr>
          <p:nvPr/>
        </p:nvPicPr>
        <p:blipFill>
          <a:blip r:embed="rId2"/>
          <a:stretch>
            <a:fillRect/>
          </a:stretch>
        </p:blipFill>
        <p:spPr>
          <a:xfrm>
            <a:off x="4211353" y="1340590"/>
            <a:ext cx="3769293" cy="5462908"/>
          </a:xfrm>
          <a:prstGeom prst="rect">
            <a:avLst/>
          </a:prstGeom>
        </p:spPr>
      </p:pic>
    </p:spTree>
    <p:extLst>
      <p:ext uri="{BB962C8B-B14F-4D97-AF65-F5344CB8AC3E}">
        <p14:creationId xmlns:p14="http://schemas.microsoft.com/office/powerpoint/2010/main" val="825000693"/>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A56CE-8532-4FFA-97F3-2431889D53A8}"/>
              </a:ext>
            </a:extLst>
          </p:cNvPr>
          <p:cNvSpPr>
            <a:spLocks noGrp="1"/>
          </p:cNvSpPr>
          <p:nvPr>
            <p:ph type="title"/>
          </p:nvPr>
        </p:nvSpPr>
        <p:spPr/>
        <p:txBody>
          <a:bodyPr>
            <a:normAutofit/>
          </a:bodyPr>
          <a:lstStyle/>
          <a:p>
            <a:r>
              <a:rPr lang="en-IN" sz="3200" dirty="0">
                <a:latin typeface="SegoeUI-Light"/>
              </a:rPr>
              <a:t>P</a:t>
            </a:r>
            <a:r>
              <a:rPr lang="en-IN" sz="3200" b="0" i="0" u="none" strike="noStrike" baseline="0" dirty="0">
                <a:latin typeface="SegoeUI-Light"/>
              </a:rPr>
              <a:t>illars of a Well Designed Application</a:t>
            </a:r>
            <a:endParaRPr lang="en-IN" sz="6000" dirty="0"/>
          </a:p>
        </p:txBody>
      </p:sp>
      <p:sp>
        <p:nvSpPr>
          <p:cNvPr id="3" name="Content Placeholder 2">
            <a:extLst>
              <a:ext uri="{FF2B5EF4-FFF2-40B4-BE49-F238E27FC236}">
                <a16:creationId xmlns:a16="http://schemas.microsoft.com/office/drawing/2014/main" id="{AC3D1BF0-3CFC-4266-8A8D-A594E9C12D8B}"/>
              </a:ext>
            </a:extLst>
          </p:cNvPr>
          <p:cNvSpPr>
            <a:spLocks noGrp="1"/>
          </p:cNvSpPr>
          <p:nvPr>
            <p:ph idx="1"/>
          </p:nvPr>
        </p:nvSpPr>
        <p:spPr/>
        <p:txBody>
          <a:bodyPr>
            <a:normAutofit/>
          </a:bodyPr>
          <a:lstStyle/>
          <a:p>
            <a:pPr marL="0" indent="0">
              <a:buClr>
                <a:srgbClr val="0070C0"/>
              </a:buClr>
              <a:buNone/>
            </a:pPr>
            <a:r>
              <a:rPr lang="en-IN" sz="2800" b="0" i="0" u="none" strike="noStrike" baseline="0" dirty="0">
                <a:solidFill>
                  <a:schemeClr val="tx1"/>
                </a:solidFill>
                <a:latin typeface="SegoeUI-Semilight"/>
              </a:rPr>
              <a:t>Scalability, availability, resiliency, management, and security are the five pillars of quality software. </a:t>
            </a:r>
          </a:p>
          <a:p>
            <a:pPr marL="0" indent="0">
              <a:buClr>
                <a:srgbClr val="0070C0"/>
              </a:buClr>
              <a:buNone/>
            </a:pPr>
            <a:r>
              <a:rPr lang="en-IN" sz="2800" b="0" i="0" u="none" strike="noStrike" baseline="0" dirty="0">
                <a:solidFill>
                  <a:schemeClr val="tx1"/>
                </a:solidFill>
                <a:latin typeface="SegoeUI-Semilight"/>
              </a:rPr>
              <a:t>Focusing on these pillars will help you design a successful cloud application. </a:t>
            </a:r>
            <a:endParaRPr lang="en-IN" sz="2800" dirty="0">
              <a:solidFill>
                <a:schemeClr val="tx1"/>
              </a:solidFill>
            </a:endParaRPr>
          </a:p>
        </p:txBody>
      </p:sp>
      <p:graphicFrame>
        <p:nvGraphicFramePr>
          <p:cNvPr id="9" name="Diagram 8">
            <a:extLst>
              <a:ext uri="{FF2B5EF4-FFF2-40B4-BE49-F238E27FC236}">
                <a16:creationId xmlns:a16="http://schemas.microsoft.com/office/drawing/2014/main" id="{270D2DC6-FA3D-43F5-9BF0-95B136FFCC64}"/>
              </a:ext>
            </a:extLst>
          </p:cNvPr>
          <p:cNvGraphicFramePr/>
          <p:nvPr>
            <p:extLst>
              <p:ext uri="{D42A27DB-BD31-4B8C-83A1-F6EECF244321}">
                <p14:modId xmlns:p14="http://schemas.microsoft.com/office/powerpoint/2010/main" val="3550282324"/>
              </p:ext>
            </p:extLst>
          </p:nvPr>
        </p:nvGraphicFramePr>
        <p:xfrm>
          <a:off x="1023815" y="3429000"/>
          <a:ext cx="10347569" cy="3239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89473222"/>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ED475-3533-4B93-827C-B1F354E5FB5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Monitoring Solutions</a:t>
            </a:r>
          </a:p>
        </p:txBody>
      </p:sp>
      <p:pic>
        <p:nvPicPr>
          <p:cNvPr id="7" name="Content Placeholder 6">
            <a:extLst>
              <a:ext uri="{FF2B5EF4-FFF2-40B4-BE49-F238E27FC236}">
                <a16:creationId xmlns:a16="http://schemas.microsoft.com/office/drawing/2014/main" id="{BC68E775-DA7F-40C0-BE7C-F8BF6927C507}"/>
              </a:ext>
            </a:extLst>
          </p:cNvPr>
          <p:cNvPicPr>
            <a:picLocks noGrp="1" noChangeAspect="1"/>
          </p:cNvPicPr>
          <p:nvPr>
            <p:ph idx="1"/>
          </p:nvPr>
        </p:nvPicPr>
        <p:blipFill>
          <a:blip r:embed="rId3"/>
          <a:stretch>
            <a:fillRect/>
          </a:stretch>
        </p:blipFill>
        <p:spPr>
          <a:xfrm>
            <a:off x="743816" y="1219199"/>
            <a:ext cx="10847606" cy="5486400"/>
          </a:xfrm>
          <a:prstGeom prst="rect">
            <a:avLst/>
          </a:prstGeom>
        </p:spPr>
      </p:pic>
    </p:spTree>
    <p:extLst>
      <p:ext uri="{BB962C8B-B14F-4D97-AF65-F5344CB8AC3E}">
        <p14:creationId xmlns:p14="http://schemas.microsoft.com/office/powerpoint/2010/main" val="713155893"/>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06049-7C05-4A20-AD0F-49BE57051291}"/>
              </a:ext>
            </a:extLst>
          </p:cNvPr>
          <p:cNvSpPr>
            <a:spLocks noGrp="1"/>
          </p:cNvSpPr>
          <p:nvPr>
            <p:ph type="title"/>
          </p:nvPr>
        </p:nvSpPr>
        <p:spPr/>
        <p:txBody>
          <a:bodyPr/>
          <a:lstStyle/>
          <a:p>
            <a:r>
              <a:rPr lang="en-IN" dirty="0"/>
              <a:t>Design for Security</a:t>
            </a:r>
          </a:p>
        </p:txBody>
      </p:sp>
    </p:spTree>
    <p:extLst>
      <p:ext uri="{BB962C8B-B14F-4D97-AF65-F5344CB8AC3E}">
        <p14:creationId xmlns:p14="http://schemas.microsoft.com/office/powerpoint/2010/main" val="3262995426"/>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sz="2800" b="0" i="0" dirty="0">
                <a:solidFill>
                  <a:srgbClr val="171717"/>
                </a:solidFill>
                <a:effectLst/>
                <a:latin typeface="Segoe UI" panose="020B0502040204020203" pitchFamily="34" charset="0"/>
              </a:rPr>
              <a:t>Microsoft Azure provides confidentiality, integrity, and availability of customer data, while also enabling transparent accountability.</a:t>
            </a:r>
            <a:endParaRPr lang="en-IN" sz="2800" dirty="0"/>
          </a:p>
        </p:txBody>
      </p:sp>
    </p:spTree>
    <p:extLst>
      <p:ext uri="{BB962C8B-B14F-4D97-AF65-F5344CB8AC3E}">
        <p14:creationId xmlns:p14="http://schemas.microsoft.com/office/powerpoint/2010/main" val="976277967"/>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Align Security Priorities to Mission </a:t>
            </a:r>
          </a:p>
          <a:p>
            <a:r>
              <a:rPr lang="en-IN" sz="2200" b="0" i="0" dirty="0">
                <a:solidFill>
                  <a:srgbClr val="171717"/>
                </a:solidFill>
                <a:effectLst/>
                <a:latin typeface="Segoe UI" panose="020B0502040204020203" pitchFamily="34" charset="0"/>
              </a:rPr>
              <a:t>Security resources are almost always limited, so prioritize efforts and assurances by aligning security strategy and technical controls to the business using classification of data and systems.</a:t>
            </a:r>
          </a:p>
          <a:p>
            <a:r>
              <a:rPr lang="en-IN" sz="2200" b="0" i="0" dirty="0">
                <a:solidFill>
                  <a:srgbClr val="171717"/>
                </a:solidFill>
                <a:effectLst/>
                <a:latin typeface="Segoe UI" panose="020B0502040204020203" pitchFamily="34" charset="0"/>
              </a:rPr>
              <a:t>Security resources should be focused first on people and assets (systems, data, accounts, etc.) with intrinsic business value and those with administrative privileges over business critical assets.</a:t>
            </a:r>
            <a:endParaRPr lang="en-IN" sz="2200" dirty="0"/>
          </a:p>
        </p:txBody>
      </p:sp>
    </p:spTree>
    <p:extLst>
      <p:ext uri="{BB962C8B-B14F-4D97-AF65-F5344CB8AC3E}">
        <p14:creationId xmlns:p14="http://schemas.microsoft.com/office/powerpoint/2010/main" val="481219667"/>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Build a Comprehensive Strategy </a:t>
            </a:r>
          </a:p>
          <a:p>
            <a:r>
              <a:rPr lang="en-IN" sz="2200" b="0" i="0" dirty="0">
                <a:solidFill>
                  <a:srgbClr val="171717"/>
                </a:solidFill>
                <a:effectLst/>
                <a:latin typeface="Segoe UI" panose="020B0502040204020203" pitchFamily="34" charset="0"/>
              </a:rPr>
              <a:t>A security strategy should consider investments in culture, processes, and security controls across all system components. </a:t>
            </a:r>
          </a:p>
          <a:p>
            <a:r>
              <a:rPr lang="en-IN" sz="2200" b="0" i="0" dirty="0">
                <a:solidFill>
                  <a:srgbClr val="171717"/>
                </a:solidFill>
                <a:effectLst/>
                <a:latin typeface="Segoe UI" panose="020B0502040204020203" pitchFamily="34" charset="0"/>
              </a:rPr>
              <a:t>The strategy should also consider security for the full lifecycle of system components including the supply chain of software, hardware, and services.</a:t>
            </a:r>
            <a:endParaRPr lang="en-IN" sz="2200" dirty="0"/>
          </a:p>
        </p:txBody>
      </p:sp>
    </p:spTree>
    <p:extLst>
      <p:ext uri="{BB962C8B-B14F-4D97-AF65-F5344CB8AC3E}">
        <p14:creationId xmlns:p14="http://schemas.microsoft.com/office/powerpoint/2010/main" val="1038780102"/>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Drive Simplicity </a:t>
            </a:r>
          </a:p>
          <a:p>
            <a:r>
              <a:rPr lang="en-IN" sz="2200" b="0" i="0" dirty="0">
                <a:solidFill>
                  <a:srgbClr val="171717"/>
                </a:solidFill>
                <a:effectLst/>
                <a:latin typeface="Segoe UI" panose="020B0502040204020203" pitchFamily="34" charset="0"/>
              </a:rPr>
              <a:t>Complexity in systems leads to increased human confusion, errors, automation failures, and difficulty of recovering from an issue. </a:t>
            </a:r>
          </a:p>
          <a:p>
            <a:r>
              <a:rPr lang="en-IN" sz="2200" b="0" i="0" dirty="0">
                <a:solidFill>
                  <a:srgbClr val="171717"/>
                </a:solidFill>
                <a:effectLst/>
                <a:latin typeface="Segoe UI" panose="020B0502040204020203" pitchFamily="34" charset="0"/>
              </a:rPr>
              <a:t>Favour simple and consistent architectures and implementations.</a:t>
            </a:r>
            <a:endParaRPr lang="en-IN" sz="2200" dirty="0"/>
          </a:p>
        </p:txBody>
      </p:sp>
    </p:spTree>
    <p:extLst>
      <p:ext uri="{BB962C8B-B14F-4D97-AF65-F5344CB8AC3E}">
        <p14:creationId xmlns:p14="http://schemas.microsoft.com/office/powerpoint/2010/main" val="930944531"/>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Design for Attackers</a:t>
            </a:r>
          </a:p>
          <a:p>
            <a:r>
              <a:rPr lang="en-IN" sz="2200" b="0" i="0" dirty="0">
                <a:solidFill>
                  <a:srgbClr val="171717"/>
                </a:solidFill>
                <a:effectLst/>
                <a:latin typeface="Segoe UI" panose="020B0502040204020203" pitchFamily="34" charset="0"/>
              </a:rPr>
              <a:t>Your security design and prioritization should be focused on the way attackers see your environment, which is often not the way IT and application teams see it. </a:t>
            </a:r>
          </a:p>
          <a:p>
            <a:r>
              <a:rPr lang="en-IN" sz="2200" b="0" i="0" dirty="0">
                <a:solidFill>
                  <a:srgbClr val="171717"/>
                </a:solidFill>
                <a:effectLst/>
                <a:latin typeface="Segoe UI" panose="020B0502040204020203" pitchFamily="34" charset="0"/>
              </a:rPr>
              <a:t>Inform your security design and test it with </a:t>
            </a:r>
            <a:r>
              <a:rPr lang="en-IN" sz="2200" b="1" i="0" dirty="0">
                <a:solidFill>
                  <a:srgbClr val="171717"/>
                </a:solidFill>
                <a:effectLst/>
                <a:latin typeface="Segoe UI" panose="020B0502040204020203" pitchFamily="34" charset="0"/>
              </a:rPr>
              <a:t>penetration testing</a:t>
            </a:r>
            <a:r>
              <a:rPr lang="en-IN" sz="2200" b="0" i="0" dirty="0">
                <a:solidFill>
                  <a:srgbClr val="171717"/>
                </a:solidFill>
                <a:effectLst/>
                <a:latin typeface="Segoe UI" panose="020B0502040204020203" pitchFamily="34" charset="0"/>
              </a:rPr>
              <a:t> to simulate one-time attacks. </a:t>
            </a:r>
          </a:p>
          <a:p>
            <a:r>
              <a:rPr lang="en-IN" sz="2200" b="0" i="0" dirty="0">
                <a:solidFill>
                  <a:srgbClr val="171717"/>
                </a:solidFill>
                <a:effectLst/>
                <a:latin typeface="Segoe UI" panose="020B0502040204020203" pitchFamily="34" charset="0"/>
              </a:rPr>
              <a:t>Use </a:t>
            </a:r>
            <a:r>
              <a:rPr lang="en-IN" sz="2200" b="1" i="0" dirty="0">
                <a:solidFill>
                  <a:srgbClr val="171717"/>
                </a:solidFill>
                <a:effectLst/>
                <a:latin typeface="Segoe UI" panose="020B0502040204020203" pitchFamily="34" charset="0"/>
              </a:rPr>
              <a:t>red teams</a:t>
            </a:r>
            <a:r>
              <a:rPr lang="en-IN" sz="2200" b="0" i="0" dirty="0">
                <a:solidFill>
                  <a:srgbClr val="171717"/>
                </a:solidFill>
                <a:effectLst/>
                <a:latin typeface="Segoe UI" panose="020B0502040204020203" pitchFamily="34" charset="0"/>
              </a:rPr>
              <a:t> to simulate long-term persistent attack groups.</a:t>
            </a:r>
            <a:endParaRPr lang="en-IN" sz="2200" dirty="0"/>
          </a:p>
        </p:txBody>
      </p:sp>
    </p:spTree>
    <p:extLst>
      <p:ext uri="{BB962C8B-B14F-4D97-AF65-F5344CB8AC3E}">
        <p14:creationId xmlns:p14="http://schemas.microsoft.com/office/powerpoint/2010/main" val="940167221"/>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Leverage Native Controls </a:t>
            </a:r>
          </a:p>
          <a:p>
            <a:r>
              <a:rPr lang="en-IN" sz="2200" b="0" i="0" dirty="0">
                <a:solidFill>
                  <a:srgbClr val="171717"/>
                </a:solidFill>
                <a:effectLst/>
                <a:latin typeface="Segoe UI" panose="020B0502040204020203" pitchFamily="34" charset="0"/>
              </a:rPr>
              <a:t>Favour native security controls built into cloud services over external controls from third parties. </a:t>
            </a:r>
          </a:p>
          <a:p>
            <a:r>
              <a:rPr lang="en-IN" sz="2200" b="0" i="0" dirty="0">
                <a:solidFill>
                  <a:srgbClr val="171717"/>
                </a:solidFill>
                <a:effectLst/>
                <a:latin typeface="Segoe UI" panose="020B0502040204020203" pitchFamily="34" charset="0"/>
              </a:rPr>
              <a:t>Native security controls are maintained and supported by the service provider, eliminating or reducing effort required to integrate external security tooling and update those integrations over time.</a:t>
            </a:r>
            <a:endParaRPr lang="en-IN" sz="2200" dirty="0"/>
          </a:p>
        </p:txBody>
      </p:sp>
    </p:spTree>
    <p:extLst>
      <p:ext uri="{BB962C8B-B14F-4D97-AF65-F5344CB8AC3E}">
        <p14:creationId xmlns:p14="http://schemas.microsoft.com/office/powerpoint/2010/main" val="24166921"/>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for Security</a:t>
            </a:r>
          </a:p>
        </p:txBody>
      </p:sp>
      <p:sp>
        <p:nvSpPr>
          <p:cNvPr id="3" name="Content Placeholder 2">
            <a:extLst>
              <a:ext uri="{FF2B5EF4-FFF2-40B4-BE49-F238E27FC236}">
                <a16:creationId xmlns:a16="http://schemas.microsoft.com/office/drawing/2014/main" id="{605676BE-09B6-4581-97C4-4A40E9FB77E6}"/>
              </a:ext>
            </a:extLst>
          </p:cNvPr>
          <p:cNvSpPr>
            <a:spLocks noGrp="1"/>
          </p:cNvSpPr>
          <p:nvPr>
            <p:ph idx="1"/>
          </p:nvPr>
        </p:nvSpPr>
        <p:spPr/>
        <p:txBody>
          <a:bodyPr>
            <a:normAutofit/>
          </a:bodyPr>
          <a:lstStyle/>
          <a:p>
            <a:pPr marL="0" indent="0">
              <a:buNone/>
            </a:pPr>
            <a:r>
              <a:rPr lang="en-IN" b="1" i="0" dirty="0">
                <a:solidFill>
                  <a:srgbClr val="171717"/>
                </a:solidFill>
                <a:effectLst/>
                <a:latin typeface="Segoe UI" panose="020B0502040204020203" pitchFamily="34" charset="0"/>
              </a:rPr>
              <a:t>Use Identity as Primary Access Control </a:t>
            </a:r>
            <a:endParaRPr lang="en-IN" b="1" dirty="0">
              <a:solidFill>
                <a:srgbClr val="171717"/>
              </a:solidFill>
            </a:endParaRPr>
          </a:p>
          <a:p>
            <a:r>
              <a:rPr lang="en-IN" sz="2200" b="0" i="0" dirty="0">
                <a:solidFill>
                  <a:srgbClr val="171717"/>
                </a:solidFill>
                <a:effectLst/>
                <a:latin typeface="Segoe UI" panose="020B0502040204020203" pitchFamily="34" charset="0"/>
              </a:rPr>
              <a:t>Access to resources in cloud architectures is primarily governed by identity-based authentication and authorization for access controls. </a:t>
            </a:r>
          </a:p>
          <a:p>
            <a:r>
              <a:rPr lang="en-IN" sz="2200" b="0" i="0" dirty="0">
                <a:solidFill>
                  <a:srgbClr val="171717"/>
                </a:solidFill>
                <a:effectLst/>
                <a:latin typeface="Segoe UI" panose="020B0502040204020203" pitchFamily="34" charset="0"/>
              </a:rPr>
              <a:t>Your account control strategy should rely on identity systems for controlling access rather than relying on network controls or direct use of cryptographic keys.</a:t>
            </a:r>
            <a:endParaRPr lang="en-IN" sz="2200" dirty="0"/>
          </a:p>
        </p:txBody>
      </p:sp>
    </p:spTree>
    <p:extLst>
      <p:ext uri="{BB962C8B-B14F-4D97-AF65-F5344CB8AC3E}">
        <p14:creationId xmlns:p14="http://schemas.microsoft.com/office/powerpoint/2010/main" val="1865425696"/>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3F07F-79F9-4A0C-9E0B-90B04FAE01C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Azure Tools: Secure And Protect</a:t>
            </a:r>
          </a:p>
        </p:txBody>
      </p:sp>
      <p:pic>
        <p:nvPicPr>
          <p:cNvPr id="11" name="Content Placeholder 10">
            <a:extLst>
              <a:ext uri="{FF2B5EF4-FFF2-40B4-BE49-F238E27FC236}">
                <a16:creationId xmlns:a16="http://schemas.microsoft.com/office/drawing/2014/main" id="{18FF8F69-E865-4822-880B-7AC298C0DE52}"/>
              </a:ext>
            </a:extLst>
          </p:cNvPr>
          <p:cNvPicPr>
            <a:picLocks noGrp="1" noChangeAspect="1"/>
          </p:cNvPicPr>
          <p:nvPr>
            <p:ph idx="1"/>
          </p:nvPr>
        </p:nvPicPr>
        <p:blipFill>
          <a:blip r:embed="rId3"/>
          <a:stretch>
            <a:fillRect/>
          </a:stretch>
        </p:blipFill>
        <p:spPr>
          <a:xfrm>
            <a:off x="226174" y="1873148"/>
            <a:ext cx="11739652" cy="4014354"/>
          </a:xfrm>
        </p:spPr>
      </p:pic>
    </p:spTree>
    <p:extLst>
      <p:ext uri="{BB962C8B-B14F-4D97-AF65-F5344CB8AC3E}">
        <p14:creationId xmlns:p14="http://schemas.microsoft.com/office/powerpoint/2010/main" val="2600561889"/>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1E3B9-5670-42B5-BC10-79611A518D11}"/>
              </a:ext>
            </a:extLst>
          </p:cNvPr>
          <p:cNvSpPr>
            <a:spLocks noGrp="1"/>
          </p:cNvSpPr>
          <p:nvPr>
            <p:ph type="title"/>
          </p:nvPr>
        </p:nvSpPr>
        <p:spPr/>
        <p:txBody>
          <a:bodyPr/>
          <a:lstStyle/>
          <a:p>
            <a:r>
              <a:rPr lang="en-IN" dirty="0"/>
              <a:t>Design for Scalability</a:t>
            </a:r>
          </a:p>
        </p:txBody>
      </p:sp>
    </p:spTree>
    <p:extLst>
      <p:ext uri="{BB962C8B-B14F-4D97-AF65-F5344CB8AC3E}">
        <p14:creationId xmlns:p14="http://schemas.microsoft.com/office/powerpoint/2010/main" val="2737821328"/>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2C91A-7282-4A0D-BA03-ECFBB5F7995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Azure Tools: Detect Threats</a:t>
            </a:r>
          </a:p>
        </p:txBody>
      </p:sp>
      <p:pic>
        <p:nvPicPr>
          <p:cNvPr id="7" name="Content Placeholder 6">
            <a:extLst>
              <a:ext uri="{FF2B5EF4-FFF2-40B4-BE49-F238E27FC236}">
                <a16:creationId xmlns:a16="http://schemas.microsoft.com/office/drawing/2014/main" id="{910A3355-4319-4127-A7FC-706F3C0B214F}"/>
              </a:ext>
            </a:extLst>
          </p:cNvPr>
          <p:cNvPicPr>
            <a:picLocks noGrp="1" noChangeAspect="1"/>
          </p:cNvPicPr>
          <p:nvPr>
            <p:ph idx="1"/>
          </p:nvPr>
        </p:nvPicPr>
        <p:blipFill>
          <a:blip r:embed="rId3"/>
          <a:stretch>
            <a:fillRect/>
          </a:stretch>
        </p:blipFill>
        <p:spPr>
          <a:xfrm>
            <a:off x="586611" y="2214130"/>
            <a:ext cx="11018777" cy="3562409"/>
          </a:xfrm>
          <a:prstGeom prst="rect">
            <a:avLst/>
          </a:prstGeom>
        </p:spPr>
      </p:pic>
    </p:spTree>
    <p:extLst>
      <p:ext uri="{BB962C8B-B14F-4D97-AF65-F5344CB8AC3E}">
        <p14:creationId xmlns:p14="http://schemas.microsoft.com/office/powerpoint/2010/main" val="389855978"/>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2C91A-7282-4A0D-BA03-ECFBB5F7995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Azure Tools: Investigate And Respond</a:t>
            </a:r>
          </a:p>
        </p:txBody>
      </p:sp>
      <p:pic>
        <p:nvPicPr>
          <p:cNvPr id="12" name="Content Placeholder 11">
            <a:extLst>
              <a:ext uri="{FF2B5EF4-FFF2-40B4-BE49-F238E27FC236}">
                <a16:creationId xmlns:a16="http://schemas.microsoft.com/office/drawing/2014/main" id="{341CA323-55CB-40BA-A22C-21398AB196DD}"/>
              </a:ext>
            </a:extLst>
          </p:cNvPr>
          <p:cNvPicPr>
            <a:picLocks noGrp="1" noChangeAspect="1"/>
          </p:cNvPicPr>
          <p:nvPr>
            <p:ph idx="1"/>
          </p:nvPr>
        </p:nvPicPr>
        <p:blipFill>
          <a:blip r:embed="rId3"/>
          <a:stretch>
            <a:fillRect/>
          </a:stretch>
        </p:blipFill>
        <p:spPr>
          <a:xfrm>
            <a:off x="518462" y="2683435"/>
            <a:ext cx="11155075" cy="2562505"/>
          </a:xfrm>
        </p:spPr>
      </p:pic>
    </p:spTree>
    <p:extLst>
      <p:ext uri="{BB962C8B-B14F-4D97-AF65-F5344CB8AC3E}">
        <p14:creationId xmlns:p14="http://schemas.microsoft.com/office/powerpoint/2010/main" val="1552314003"/>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06049-7C05-4A20-AD0F-49BE57051291}"/>
              </a:ext>
            </a:extLst>
          </p:cNvPr>
          <p:cNvSpPr>
            <a:spLocks noGrp="1"/>
          </p:cNvSpPr>
          <p:nvPr>
            <p:ph type="title"/>
          </p:nvPr>
        </p:nvSpPr>
        <p:spPr/>
        <p:txBody>
          <a:bodyPr/>
          <a:lstStyle/>
          <a:p>
            <a:r>
              <a:rPr lang="en-IN" dirty="0"/>
              <a:t>Case Studies</a:t>
            </a:r>
          </a:p>
        </p:txBody>
      </p:sp>
    </p:spTree>
    <p:extLst>
      <p:ext uri="{BB962C8B-B14F-4D97-AF65-F5344CB8AC3E}">
        <p14:creationId xmlns:p14="http://schemas.microsoft.com/office/powerpoint/2010/main" val="1047787633"/>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586C1-5C94-294D-A80B-95CB673D195E}"/>
              </a:ext>
            </a:extLst>
          </p:cNvPr>
          <p:cNvSpPr>
            <a:spLocks noGrp="1"/>
          </p:cNvSpPr>
          <p:nvPr>
            <p:ph type="title"/>
          </p:nvPr>
        </p:nvSpPr>
        <p:spPr/>
        <p:txBody>
          <a:bodyPr/>
          <a:lstStyle/>
          <a:p>
            <a:r>
              <a:rPr lang="en-RO" dirty="0"/>
              <a:t>Enterprise File Transfer</a:t>
            </a:r>
          </a:p>
        </p:txBody>
      </p:sp>
      <p:sp>
        <p:nvSpPr>
          <p:cNvPr id="10" name="Content Placeholder 9">
            <a:extLst>
              <a:ext uri="{FF2B5EF4-FFF2-40B4-BE49-F238E27FC236}">
                <a16:creationId xmlns:a16="http://schemas.microsoft.com/office/drawing/2014/main" id="{DBE9F947-9A0A-5E46-9721-2A3A30070AEA}"/>
              </a:ext>
            </a:extLst>
          </p:cNvPr>
          <p:cNvSpPr>
            <a:spLocks noGrp="1"/>
          </p:cNvSpPr>
          <p:nvPr>
            <p:ph idx="1"/>
          </p:nvPr>
        </p:nvSpPr>
        <p:spPr/>
        <p:txBody>
          <a:bodyPr/>
          <a:lstStyle/>
          <a:p>
            <a:endParaRPr lang="en-RO" dirty="0"/>
          </a:p>
        </p:txBody>
      </p:sp>
      <p:pic>
        <p:nvPicPr>
          <p:cNvPr id="9" name="Picture 8">
            <a:extLst>
              <a:ext uri="{FF2B5EF4-FFF2-40B4-BE49-F238E27FC236}">
                <a16:creationId xmlns:a16="http://schemas.microsoft.com/office/drawing/2014/main" id="{0BB87C6A-F010-A743-A167-C4A59EE6DD8D}"/>
              </a:ext>
            </a:extLst>
          </p:cNvPr>
          <p:cNvPicPr>
            <a:picLocks noChangeAspect="1"/>
          </p:cNvPicPr>
          <p:nvPr/>
        </p:nvPicPr>
        <p:blipFill rotWithShape="1">
          <a:blip r:embed="rId2">
            <a:extLst>
              <a:ext uri="{28A0092B-C50C-407E-A947-70E740481C1C}">
                <a14:useLocalDpi xmlns:a14="http://schemas.microsoft.com/office/drawing/2010/main" val="0"/>
              </a:ext>
            </a:extLst>
          </a:blip>
          <a:srcRect t="8716" b="14509"/>
          <a:stretch/>
        </p:blipFill>
        <p:spPr>
          <a:xfrm>
            <a:off x="544425" y="1371600"/>
            <a:ext cx="11103149" cy="5265272"/>
          </a:xfrm>
          <a:prstGeom prst="rect">
            <a:avLst/>
          </a:prstGeom>
        </p:spPr>
      </p:pic>
    </p:spTree>
    <p:extLst>
      <p:ext uri="{BB962C8B-B14F-4D97-AF65-F5344CB8AC3E}">
        <p14:creationId xmlns:p14="http://schemas.microsoft.com/office/powerpoint/2010/main" val="3087935730"/>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DABD2-E2A7-364C-ABF7-F320E1F51116}"/>
              </a:ext>
            </a:extLst>
          </p:cNvPr>
          <p:cNvSpPr>
            <a:spLocks noGrp="1"/>
          </p:cNvSpPr>
          <p:nvPr>
            <p:ph type="title"/>
          </p:nvPr>
        </p:nvSpPr>
        <p:spPr/>
        <p:txBody>
          <a:bodyPr/>
          <a:lstStyle/>
          <a:p>
            <a:r>
              <a:rPr lang="en-RO" dirty="0"/>
              <a:t>Fintech Software</a:t>
            </a:r>
          </a:p>
        </p:txBody>
      </p:sp>
      <p:pic>
        <p:nvPicPr>
          <p:cNvPr id="7" name="Content Placeholder 6">
            <a:extLst>
              <a:ext uri="{FF2B5EF4-FFF2-40B4-BE49-F238E27FC236}">
                <a16:creationId xmlns:a16="http://schemas.microsoft.com/office/drawing/2014/main" id="{ABF22D69-532E-6347-AED1-E2A8A17498D3}"/>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3542" b="2488"/>
          <a:stretch/>
        </p:blipFill>
        <p:spPr>
          <a:xfrm>
            <a:off x="1720326" y="1228164"/>
            <a:ext cx="8751347" cy="5477435"/>
          </a:xfrm>
        </p:spPr>
      </p:pic>
    </p:spTree>
    <p:extLst>
      <p:ext uri="{BB962C8B-B14F-4D97-AF65-F5344CB8AC3E}">
        <p14:creationId xmlns:p14="http://schemas.microsoft.com/office/powerpoint/2010/main" val="3143777508"/>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EFA20-D3F0-D645-A3B1-4260CC8A1063}"/>
              </a:ext>
            </a:extLst>
          </p:cNvPr>
          <p:cNvSpPr>
            <a:spLocks noGrp="1"/>
          </p:cNvSpPr>
          <p:nvPr>
            <p:ph type="title"/>
          </p:nvPr>
        </p:nvSpPr>
        <p:spPr/>
        <p:txBody>
          <a:bodyPr/>
          <a:lstStyle/>
          <a:p>
            <a:r>
              <a:rPr lang="en-RO" dirty="0"/>
              <a:t>Personal Finance Management Software</a:t>
            </a:r>
          </a:p>
        </p:txBody>
      </p:sp>
      <p:pic>
        <p:nvPicPr>
          <p:cNvPr id="6" name="Picture 5">
            <a:extLst>
              <a:ext uri="{FF2B5EF4-FFF2-40B4-BE49-F238E27FC236}">
                <a16:creationId xmlns:a16="http://schemas.microsoft.com/office/drawing/2014/main" id="{78832D69-FD88-9E48-86E9-23E89D356312}"/>
              </a:ext>
            </a:extLst>
          </p:cNvPr>
          <p:cNvPicPr>
            <a:picLocks noChangeAspect="1"/>
          </p:cNvPicPr>
          <p:nvPr/>
        </p:nvPicPr>
        <p:blipFill>
          <a:blip r:embed="rId2"/>
          <a:stretch>
            <a:fillRect/>
          </a:stretch>
        </p:blipFill>
        <p:spPr>
          <a:xfrm>
            <a:off x="1861102" y="1332753"/>
            <a:ext cx="8469796" cy="5372846"/>
          </a:xfrm>
          <a:prstGeom prst="rect">
            <a:avLst/>
          </a:prstGeom>
        </p:spPr>
      </p:pic>
    </p:spTree>
    <p:extLst>
      <p:ext uri="{BB962C8B-B14F-4D97-AF65-F5344CB8AC3E}">
        <p14:creationId xmlns:p14="http://schemas.microsoft.com/office/powerpoint/2010/main" val="2332254044"/>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FEB2E-1CA7-481A-B6FA-FB99FE055131}"/>
              </a:ext>
            </a:extLst>
          </p:cNvPr>
          <p:cNvSpPr>
            <a:spLocks noGrp="1"/>
          </p:cNvSpPr>
          <p:nvPr>
            <p:ph type="title"/>
          </p:nvPr>
        </p:nvSpPr>
        <p:spPr/>
        <p:txBody>
          <a:bodyPr vert="horz" lIns="91440" tIns="45720" rIns="91440" bIns="45720" rtlCol="0" anchor="b">
            <a:normAutofit fontScale="90000"/>
          </a:bodyPr>
          <a:lstStyle/>
          <a:p>
            <a:r>
              <a:rPr lang="en-US" sz="5400" dirty="0">
                <a:latin typeface="Segoe UI" pitchFamily="34" charset="0"/>
              </a:rPr>
              <a:t>Thank You!</a:t>
            </a:r>
            <a:br>
              <a:rPr lang="en-US" sz="5400" dirty="0">
                <a:latin typeface="Segoe UI" pitchFamily="34" charset="0"/>
              </a:rPr>
            </a:br>
            <a:r>
              <a:rPr lang="en-US" dirty="0">
                <a:latin typeface="Segoe UI" pitchFamily="34" charset="0"/>
              </a:rPr>
              <a:t>Open Discussion &amp; Questions</a:t>
            </a:r>
            <a:r>
              <a:rPr lang="en-US" sz="5400" dirty="0">
                <a:latin typeface="Segoe UI" pitchFamily="34" charset="0"/>
              </a:rPr>
              <a:t> </a:t>
            </a:r>
          </a:p>
        </p:txBody>
      </p:sp>
    </p:spTree>
    <p:extLst>
      <p:ext uri="{BB962C8B-B14F-4D97-AF65-F5344CB8AC3E}">
        <p14:creationId xmlns:p14="http://schemas.microsoft.com/office/powerpoint/2010/main" val="1857886344"/>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6D7A3-5DCB-4637-86CA-865FC015A7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latin typeface="SegoeUI"/>
              </a:rPr>
              <a:t>Design Challenge</a:t>
            </a:r>
          </a:p>
        </p:txBody>
      </p:sp>
      <p:pic>
        <p:nvPicPr>
          <p:cNvPr id="9" name="Graphic 8" descr="Playbook">
            <a:extLst>
              <a:ext uri="{FF2B5EF4-FFF2-40B4-BE49-F238E27FC236}">
                <a16:creationId xmlns:a16="http://schemas.microsoft.com/office/drawing/2014/main" id="{C8A61F81-D049-2941-943D-08DE1CCAC7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00097" y="1713984"/>
            <a:ext cx="3728885" cy="3728885"/>
          </a:xfrm>
          <a:prstGeom prst="rect">
            <a:avLst/>
          </a:prstGeom>
        </p:spPr>
      </p:pic>
    </p:spTree>
    <p:extLst>
      <p:ext uri="{BB962C8B-B14F-4D97-AF65-F5344CB8AC3E}">
        <p14:creationId xmlns:p14="http://schemas.microsoft.com/office/powerpoint/2010/main" val="366665970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2BE7C-3709-48E9-91A0-7991FB485D1F}"/>
              </a:ext>
            </a:extLst>
          </p:cNvPr>
          <p:cNvSpPr>
            <a:spLocks noGrp="1"/>
          </p:cNvSpPr>
          <p:nvPr>
            <p:ph type="title"/>
          </p:nvPr>
        </p:nvSpPr>
        <p:spPr/>
        <p:txBody>
          <a:bodyPr>
            <a:normAutofit/>
          </a:bodyPr>
          <a:lstStyle/>
          <a:p>
            <a:r>
              <a:rPr lang="en-IN" b="0" i="0" u="none" strike="noStrike" baseline="0" dirty="0">
                <a:latin typeface="SegoeUI-Semilight"/>
              </a:rPr>
              <a:t>Scalability</a:t>
            </a:r>
            <a:endParaRPr lang="en-IN" sz="7200" dirty="0"/>
          </a:p>
        </p:txBody>
      </p:sp>
      <p:sp>
        <p:nvSpPr>
          <p:cNvPr id="3" name="Content Placeholder 2">
            <a:extLst>
              <a:ext uri="{FF2B5EF4-FFF2-40B4-BE49-F238E27FC236}">
                <a16:creationId xmlns:a16="http://schemas.microsoft.com/office/drawing/2014/main" id="{39679D6B-1414-46CA-ABE1-78B6E4494B7E}"/>
              </a:ext>
            </a:extLst>
          </p:cNvPr>
          <p:cNvSpPr>
            <a:spLocks noGrp="1"/>
          </p:cNvSpPr>
          <p:nvPr>
            <p:ph idx="1"/>
          </p:nvPr>
        </p:nvSpPr>
        <p:spPr/>
        <p:txBody>
          <a:bodyPr>
            <a:normAutofit/>
          </a:bodyPr>
          <a:lstStyle/>
          <a:p>
            <a:pPr algn="l"/>
            <a:r>
              <a:rPr lang="en-IN" sz="2800" b="1" i="0" strike="noStrike" baseline="0" dirty="0">
                <a:solidFill>
                  <a:schemeClr val="tx1"/>
                </a:solidFill>
                <a:latin typeface="SegoeUI"/>
              </a:rPr>
              <a:t>Vertical scaling </a:t>
            </a:r>
            <a:r>
              <a:rPr lang="en-IN" sz="2800" b="0" i="0" u="none" strike="noStrike" baseline="0" dirty="0">
                <a:solidFill>
                  <a:schemeClr val="tx1"/>
                </a:solidFill>
                <a:latin typeface="SegoeUI"/>
              </a:rPr>
              <a:t>(scaling up) means increasing the capacity of a resource, for example by using a larger VM size.</a:t>
            </a:r>
          </a:p>
          <a:p>
            <a:pPr algn="l"/>
            <a:r>
              <a:rPr lang="en-IN" sz="2800" b="1" i="0" u="none" strike="noStrike" baseline="0" dirty="0">
                <a:solidFill>
                  <a:schemeClr val="tx1"/>
                </a:solidFill>
                <a:latin typeface="SegoeUI"/>
              </a:rPr>
              <a:t>Horizontal scaling </a:t>
            </a:r>
            <a:r>
              <a:rPr lang="en-IN" sz="2800" b="0" i="0" u="none" strike="noStrike" baseline="0" dirty="0">
                <a:solidFill>
                  <a:schemeClr val="tx1"/>
                </a:solidFill>
                <a:latin typeface="SegoeUI"/>
              </a:rPr>
              <a:t>(scaling out) is adding new instances of a resource, such as VMs or database replicas.</a:t>
            </a:r>
            <a:endParaRPr lang="en-IN" sz="2800" dirty="0">
              <a:solidFill>
                <a:schemeClr val="tx1"/>
              </a:solidFill>
            </a:endParaRPr>
          </a:p>
        </p:txBody>
      </p:sp>
    </p:spTree>
    <p:extLst>
      <p:ext uri="{BB962C8B-B14F-4D97-AF65-F5344CB8AC3E}">
        <p14:creationId xmlns:p14="http://schemas.microsoft.com/office/powerpoint/2010/main" val="739542184"/>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9D312-29FD-4D2F-A002-B9C6FB196F27}"/>
              </a:ext>
            </a:extLst>
          </p:cNvPr>
          <p:cNvSpPr>
            <a:spLocks noGrp="1"/>
          </p:cNvSpPr>
          <p:nvPr>
            <p:ph type="title"/>
          </p:nvPr>
        </p:nvSpPr>
        <p:spPr/>
        <p:txBody>
          <a:bodyPr>
            <a:normAutofit/>
          </a:bodyPr>
          <a:lstStyle/>
          <a:p>
            <a:r>
              <a:rPr lang="en-IN" b="0" i="0" u="none" strike="noStrike" baseline="0" dirty="0">
                <a:latin typeface="SegoeUI"/>
              </a:rPr>
              <a:t>Horizontal</a:t>
            </a:r>
            <a:r>
              <a:rPr lang="en-IN" b="0" i="0" u="none" strike="noStrike" baseline="0" dirty="0">
                <a:solidFill>
                  <a:schemeClr val="tx1"/>
                </a:solidFill>
                <a:latin typeface="SegoeUI"/>
              </a:rPr>
              <a:t> </a:t>
            </a:r>
            <a:r>
              <a:rPr lang="en-IN" b="0" i="0" u="none" strike="noStrike" baseline="0" dirty="0">
                <a:latin typeface="SegoeUI"/>
              </a:rPr>
              <a:t>Scaling</a:t>
            </a:r>
            <a:endParaRPr lang="en-IN" sz="7200" dirty="0"/>
          </a:p>
        </p:txBody>
      </p:sp>
      <p:sp>
        <p:nvSpPr>
          <p:cNvPr id="3" name="Content Placeholder 2">
            <a:extLst>
              <a:ext uri="{FF2B5EF4-FFF2-40B4-BE49-F238E27FC236}">
                <a16:creationId xmlns:a16="http://schemas.microsoft.com/office/drawing/2014/main" id="{CF795590-CDD1-4938-B314-F61DF95D77B0}"/>
              </a:ext>
            </a:extLst>
          </p:cNvPr>
          <p:cNvSpPr>
            <a:spLocks noGrp="1"/>
          </p:cNvSpPr>
          <p:nvPr>
            <p:ph idx="1"/>
          </p:nvPr>
        </p:nvSpPr>
        <p:spPr/>
        <p:txBody>
          <a:bodyPr>
            <a:normAutofit/>
          </a:bodyPr>
          <a:lstStyle/>
          <a:p>
            <a:pPr algn="l"/>
            <a:r>
              <a:rPr lang="en-IN" sz="2400" b="0" i="0" u="none" strike="noStrike" baseline="0" dirty="0">
                <a:solidFill>
                  <a:schemeClr val="tx1"/>
                </a:solidFill>
                <a:latin typeface="SegoeUI"/>
              </a:rPr>
              <a:t>True cloud scale. Applications can be designed to run on hundreds or even thousands of nodes, reaching scales that are not possible on a single node.</a:t>
            </a:r>
          </a:p>
          <a:p>
            <a:pPr algn="l"/>
            <a:r>
              <a:rPr lang="en-IN" sz="2400" b="0" i="0" u="none" strike="noStrike" baseline="0" dirty="0">
                <a:solidFill>
                  <a:schemeClr val="tx1"/>
                </a:solidFill>
                <a:latin typeface="SegoeUI"/>
              </a:rPr>
              <a:t>Horizontal scale is elastic. You can add more instances if load increases, or remove them during quieter periods.</a:t>
            </a:r>
          </a:p>
          <a:p>
            <a:pPr algn="l"/>
            <a:r>
              <a:rPr lang="en-IN" sz="2400" b="0" i="0" u="none" strike="noStrike" baseline="0" dirty="0">
                <a:solidFill>
                  <a:schemeClr val="tx1"/>
                </a:solidFill>
                <a:latin typeface="SegoeUI"/>
              </a:rPr>
              <a:t>Scaling out can be triggered automatically, either on a schedule or in response to changes in load.</a:t>
            </a:r>
            <a:endParaRPr lang="en-IN" sz="2400" dirty="0">
              <a:solidFill>
                <a:schemeClr val="tx1"/>
              </a:solidFill>
            </a:endParaRPr>
          </a:p>
        </p:txBody>
      </p:sp>
    </p:spTree>
    <p:extLst>
      <p:ext uri="{BB962C8B-B14F-4D97-AF65-F5344CB8AC3E}">
        <p14:creationId xmlns:p14="http://schemas.microsoft.com/office/powerpoint/2010/main" val="1851355048"/>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9D312-29FD-4D2F-A002-B9C6FB196F27}"/>
              </a:ext>
            </a:extLst>
          </p:cNvPr>
          <p:cNvSpPr>
            <a:spLocks noGrp="1"/>
          </p:cNvSpPr>
          <p:nvPr>
            <p:ph type="title"/>
          </p:nvPr>
        </p:nvSpPr>
        <p:spPr/>
        <p:txBody>
          <a:bodyPr>
            <a:normAutofit/>
          </a:bodyPr>
          <a:lstStyle/>
          <a:p>
            <a:r>
              <a:rPr lang="en-IN" b="0" i="0" u="none" strike="noStrike" baseline="0" dirty="0">
                <a:latin typeface="SegoeUI"/>
              </a:rPr>
              <a:t>Horizontal Scaling</a:t>
            </a:r>
            <a:endParaRPr lang="en-IN" sz="7200" dirty="0"/>
          </a:p>
        </p:txBody>
      </p:sp>
      <p:sp>
        <p:nvSpPr>
          <p:cNvPr id="3" name="Content Placeholder 2">
            <a:extLst>
              <a:ext uri="{FF2B5EF4-FFF2-40B4-BE49-F238E27FC236}">
                <a16:creationId xmlns:a16="http://schemas.microsoft.com/office/drawing/2014/main" id="{CF795590-CDD1-4938-B314-F61DF95D77B0}"/>
              </a:ext>
            </a:extLst>
          </p:cNvPr>
          <p:cNvSpPr>
            <a:spLocks noGrp="1"/>
          </p:cNvSpPr>
          <p:nvPr>
            <p:ph idx="1"/>
          </p:nvPr>
        </p:nvSpPr>
        <p:spPr/>
        <p:txBody>
          <a:bodyPr>
            <a:normAutofit/>
          </a:bodyPr>
          <a:lstStyle/>
          <a:p>
            <a:pPr algn="l"/>
            <a:r>
              <a:rPr lang="en-IN" sz="2400" b="0" i="0" u="none" strike="noStrike" baseline="0" dirty="0">
                <a:solidFill>
                  <a:schemeClr val="tx1"/>
                </a:solidFill>
                <a:latin typeface="SegoeUI"/>
              </a:rPr>
              <a:t>Scaling out may be cheaper than scaling up. Running several small VMs can cost less than a single large VM.</a:t>
            </a:r>
          </a:p>
          <a:p>
            <a:pPr algn="l"/>
            <a:r>
              <a:rPr lang="en-IN" sz="2400" b="0" i="0" u="none" strike="noStrike" baseline="0" dirty="0">
                <a:solidFill>
                  <a:schemeClr val="tx1"/>
                </a:solidFill>
                <a:latin typeface="SegoeUI"/>
              </a:rPr>
              <a:t>Horizontal scaling can also improve resiliency, by adding redundancy. If an instance goes down, the application keeps running.</a:t>
            </a:r>
            <a:endParaRPr lang="en-IN" sz="3200" dirty="0">
              <a:solidFill>
                <a:schemeClr val="tx1"/>
              </a:solidFill>
            </a:endParaRPr>
          </a:p>
        </p:txBody>
      </p:sp>
    </p:spTree>
    <p:extLst>
      <p:ext uri="{BB962C8B-B14F-4D97-AF65-F5344CB8AC3E}">
        <p14:creationId xmlns:p14="http://schemas.microsoft.com/office/powerpoint/2010/main" val="3212964902"/>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9D312-29FD-4D2F-A002-B9C6FB196F27}"/>
              </a:ext>
            </a:extLst>
          </p:cNvPr>
          <p:cNvSpPr>
            <a:spLocks noGrp="1"/>
          </p:cNvSpPr>
          <p:nvPr>
            <p:ph type="title"/>
          </p:nvPr>
        </p:nvSpPr>
        <p:spPr/>
        <p:txBody>
          <a:bodyPr>
            <a:normAutofit/>
          </a:bodyPr>
          <a:lstStyle/>
          <a:p>
            <a:r>
              <a:rPr lang="en-IN" b="0" i="0" u="none" strike="noStrike" baseline="0" dirty="0">
                <a:latin typeface="SegoeUI"/>
              </a:rPr>
              <a:t>Horizontal Scaling</a:t>
            </a:r>
            <a:endParaRPr lang="en-IN" sz="7200" dirty="0"/>
          </a:p>
        </p:txBody>
      </p:sp>
      <p:sp>
        <p:nvSpPr>
          <p:cNvPr id="3" name="Content Placeholder 2">
            <a:extLst>
              <a:ext uri="{FF2B5EF4-FFF2-40B4-BE49-F238E27FC236}">
                <a16:creationId xmlns:a16="http://schemas.microsoft.com/office/drawing/2014/main" id="{CF795590-CDD1-4938-B314-F61DF95D77B0}"/>
              </a:ext>
            </a:extLst>
          </p:cNvPr>
          <p:cNvSpPr>
            <a:spLocks noGrp="1"/>
          </p:cNvSpPr>
          <p:nvPr>
            <p:ph idx="1"/>
          </p:nvPr>
        </p:nvSpPr>
        <p:spPr/>
        <p:txBody>
          <a:bodyPr>
            <a:normAutofit/>
          </a:bodyPr>
          <a:lstStyle/>
          <a:p>
            <a:pPr algn="l"/>
            <a:r>
              <a:rPr lang="en-IN" sz="2400" b="0" i="0" u="none" strike="noStrike" baseline="0" dirty="0">
                <a:solidFill>
                  <a:schemeClr val="tx1"/>
                </a:solidFill>
                <a:latin typeface="SegoeUI"/>
              </a:rPr>
              <a:t>Scaling out may be cheaper than scaling up. Running several small VMs can cost less than a single large VM.</a:t>
            </a:r>
          </a:p>
          <a:p>
            <a:pPr algn="l"/>
            <a:r>
              <a:rPr lang="en-IN" sz="2400" b="0" i="0" u="none" strike="noStrike" baseline="0" dirty="0">
                <a:solidFill>
                  <a:schemeClr val="tx1"/>
                </a:solidFill>
                <a:latin typeface="SegoeUI"/>
              </a:rPr>
              <a:t>Horizontal scaling can also improve resiliency, by adding redundancy. If an instance goes down, the application keeps running.</a:t>
            </a:r>
            <a:endParaRPr lang="en-IN" sz="3200" dirty="0">
              <a:solidFill>
                <a:schemeClr val="tx1"/>
              </a:solidFill>
            </a:endParaRPr>
          </a:p>
        </p:txBody>
      </p:sp>
    </p:spTree>
    <p:extLst>
      <p:ext uri="{BB962C8B-B14F-4D97-AF65-F5344CB8AC3E}">
        <p14:creationId xmlns:p14="http://schemas.microsoft.com/office/powerpoint/2010/main" val="3424123993"/>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2</Template>
  <TotalTime>6785</TotalTime>
  <Words>4550</Words>
  <Application>Microsoft Macintosh PowerPoint</Application>
  <PresentationFormat>Widescreen</PresentationFormat>
  <Paragraphs>324</Paragraphs>
  <Slides>57</Slides>
  <Notes>35</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57</vt:i4>
      </vt:variant>
    </vt:vector>
  </HeadingPairs>
  <TitlesOfParts>
    <vt:vector size="79" baseType="lpstr">
      <vt:lpstr>-apple-system</vt:lpstr>
      <vt:lpstr>Arial</vt:lpstr>
      <vt:lpstr>Calibri</vt:lpstr>
      <vt:lpstr>Calibri Light</vt:lpstr>
      <vt:lpstr>Mission Gothic Regular</vt:lpstr>
      <vt:lpstr>Segoe Pro</vt:lpstr>
      <vt:lpstr>Segoe UI</vt:lpstr>
      <vt:lpstr>Segoe UI Light</vt:lpstr>
      <vt:lpstr>Segoe UI Semibold</vt:lpstr>
      <vt:lpstr>SegoeUI</vt:lpstr>
      <vt:lpstr>SegoeUI-Bold</vt:lpstr>
      <vt:lpstr>SegoeUI-Light</vt:lpstr>
      <vt:lpstr>SegoeUI-Semilight</vt:lpstr>
      <vt:lpstr>Trebuchet MS</vt:lpstr>
      <vt:lpstr>Webdings</vt:lpstr>
      <vt:lpstr>Wingdings</vt:lpstr>
      <vt:lpstr>Theme2</vt:lpstr>
      <vt:lpstr>2018</vt:lpstr>
      <vt:lpstr>Custom Design</vt:lpstr>
      <vt:lpstr>1_Custom Design</vt:lpstr>
      <vt:lpstr>1_Office Theme</vt:lpstr>
      <vt:lpstr>think-cell Slide</vt:lpstr>
      <vt:lpstr>Global Architect Summit </vt:lpstr>
      <vt:lpstr>Objectives</vt:lpstr>
      <vt:lpstr>About Your Speaker</vt:lpstr>
      <vt:lpstr>Pillars of a Well Designed Application</vt:lpstr>
      <vt:lpstr>Design for Scalability</vt:lpstr>
      <vt:lpstr>Scalability</vt:lpstr>
      <vt:lpstr>Horizontal Scaling</vt:lpstr>
      <vt:lpstr>Horizontal Scaling</vt:lpstr>
      <vt:lpstr>Horizontal Scaling</vt:lpstr>
      <vt:lpstr>Horizontal Scaling</vt:lpstr>
      <vt:lpstr>Vertical Scaling</vt:lpstr>
      <vt:lpstr>Vertical Scaling</vt:lpstr>
      <vt:lpstr>Design for High Availability</vt:lpstr>
      <vt:lpstr>High Availability</vt:lpstr>
      <vt:lpstr>HA Multi-Region Web Application</vt:lpstr>
      <vt:lpstr>HA for Web Application with Relational Database</vt:lpstr>
      <vt:lpstr>HA for Multi-Region N-tier application</vt:lpstr>
      <vt:lpstr>High Availability in Multi-Region Load Balancing</vt:lpstr>
      <vt:lpstr>Design for Resilience</vt:lpstr>
      <vt:lpstr>Resiliency</vt:lpstr>
      <vt:lpstr>Built-in Azure Resilience Services </vt:lpstr>
      <vt:lpstr>Resiliency</vt:lpstr>
      <vt:lpstr>Typical Resilience Pattern for A 3 Tier Application</vt:lpstr>
      <vt:lpstr>Typical Resilience Pattern</vt:lpstr>
      <vt:lpstr>Design for Data</vt:lpstr>
      <vt:lpstr>Traditional RDBMS Workloads</vt:lpstr>
      <vt:lpstr>Big Data Solutions</vt:lpstr>
      <vt:lpstr>Big Data Solutions</vt:lpstr>
      <vt:lpstr>Enterprise Data Warehouse Architecture</vt:lpstr>
      <vt:lpstr>Advanced Analytics Architecture</vt:lpstr>
      <vt:lpstr>Real Time Analytics on Big Data Architecture</vt:lpstr>
      <vt:lpstr>Design for Messaging</vt:lpstr>
      <vt:lpstr>Design for Messaging</vt:lpstr>
      <vt:lpstr>Asynchronous Request-Reply pattern</vt:lpstr>
      <vt:lpstr>Design for Messaging</vt:lpstr>
      <vt:lpstr>Design for Management and Monitoring</vt:lpstr>
      <vt:lpstr>Design for Management and Monitoring</vt:lpstr>
      <vt:lpstr>Design for Management and Monitoring</vt:lpstr>
      <vt:lpstr>Built-in Security Monitoring</vt:lpstr>
      <vt:lpstr>Monitoring Solutions</vt:lpstr>
      <vt:lpstr>Design for Security</vt:lpstr>
      <vt:lpstr>Design for Security</vt:lpstr>
      <vt:lpstr>Design for Security</vt:lpstr>
      <vt:lpstr>Design for Security</vt:lpstr>
      <vt:lpstr>Design for Security</vt:lpstr>
      <vt:lpstr>Design for Security</vt:lpstr>
      <vt:lpstr>Design for Security</vt:lpstr>
      <vt:lpstr>Design for Security</vt:lpstr>
      <vt:lpstr>Azure Tools: Secure And Protect</vt:lpstr>
      <vt:lpstr>Azure Tools: Detect Threats</vt:lpstr>
      <vt:lpstr>Azure Tools: Investigate And Respond</vt:lpstr>
      <vt:lpstr>Case Studies</vt:lpstr>
      <vt:lpstr>Enterprise File Transfer</vt:lpstr>
      <vt:lpstr>Fintech Software</vt:lpstr>
      <vt:lpstr>Personal Finance Management Software</vt:lpstr>
      <vt:lpstr>Thank You! Open Discussion &amp; Questions </vt:lpstr>
      <vt:lpstr>Design Challen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pplication Architecture Styles</dc:title>
  <dc:creator>Nabajyoti Boruah</dc:creator>
  <cp:lastModifiedBy>Silviu Niculita</cp:lastModifiedBy>
  <cp:revision>26</cp:revision>
  <dcterms:created xsi:type="dcterms:W3CDTF">2021-04-06T21:46:42Z</dcterms:created>
  <dcterms:modified xsi:type="dcterms:W3CDTF">2021-06-10T19:40:39Z</dcterms:modified>
</cp:coreProperties>
</file>